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Default Extension="xlsx" ContentType="application/vnd.openxmlformats-officedocument.spreadsheetml.sheet"/>
  <Override PartName="/ppt/charts/chart3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64" r:id="rId1"/>
  </p:sldMasterIdLst>
  <p:notesMasterIdLst>
    <p:notesMasterId r:id="rId16"/>
  </p:notesMasterIdLst>
  <p:handoutMasterIdLst>
    <p:handoutMasterId r:id="rId17"/>
  </p:handoutMasterIdLst>
  <p:sldIdLst>
    <p:sldId id="342" r:id="rId2"/>
    <p:sldId id="353" r:id="rId3"/>
    <p:sldId id="343" r:id="rId4"/>
    <p:sldId id="345" r:id="rId5"/>
    <p:sldId id="346" r:id="rId6"/>
    <p:sldId id="347" r:id="rId7"/>
    <p:sldId id="350" r:id="rId8"/>
    <p:sldId id="351" r:id="rId9"/>
    <p:sldId id="352" r:id="rId10"/>
    <p:sldId id="354" r:id="rId11"/>
    <p:sldId id="355" r:id="rId12"/>
    <p:sldId id="357" r:id="rId13"/>
    <p:sldId id="358" r:id="rId14"/>
    <p:sldId id="359" r:id="rId15"/>
  </p:sldIdLst>
  <p:sldSz cx="9144000" cy="6858000" type="screen4x3"/>
  <p:notesSz cx="6797675" cy="9874250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sz="2400" b="1" i="1" kern="1200">
        <a:solidFill>
          <a:srgbClr val="000000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b="1" i="1" kern="1200">
        <a:solidFill>
          <a:srgbClr val="000000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b="1" i="1" kern="1200">
        <a:solidFill>
          <a:srgbClr val="000000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b="1" i="1" kern="1200">
        <a:solidFill>
          <a:srgbClr val="000000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b="1" i="1" kern="1200">
        <a:solidFill>
          <a:srgbClr val="000000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b="1" i="1" kern="1200">
        <a:solidFill>
          <a:srgbClr val="000000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b="1" i="1" kern="1200">
        <a:solidFill>
          <a:srgbClr val="000000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b="1" i="1" kern="1200">
        <a:solidFill>
          <a:srgbClr val="000000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b="1" i="1" kern="1200">
        <a:solidFill>
          <a:srgbClr val="000000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EEEEE"/>
    <a:srgbClr val="E9E9DF"/>
    <a:srgbClr val="FF7C80"/>
    <a:srgbClr val="D3D3D3"/>
    <a:srgbClr val="B9BA9C"/>
    <a:srgbClr val="FFFFCC"/>
    <a:srgbClr val="FFCCCC"/>
    <a:srgbClr val="FFCCFF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5014" autoAdjust="0"/>
    <p:restoredTop sz="77333" autoAdjust="0"/>
  </p:normalViewPr>
  <p:slideViewPr>
    <p:cSldViewPr>
      <p:cViewPr varScale="1">
        <p:scale>
          <a:sx n="91" d="100"/>
          <a:sy n="91" d="100"/>
        </p:scale>
        <p:origin x="-1254" y="-114"/>
      </p:cViewPr>
      <p:guideLst>
        <p:guide orient="horz" pos="2160"/>
        <p:guide pos="2880"/>
      </p:guideLst>
    </p:cSldViewPr>
  </p:slideViewPr>
  <p:outlineViewPr>
    <p:cViewPr>
      <p:scale>
        <a:sx n="66" d="100"/>
        <a:sy n="66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694"/>
    </p:cViewPr>
  </p:sorterViewPr>
  <p:notesViewPr>
    <p:cSldViewPr>
      <p:cViewPr varScale="1">
        <p:scale>
          <a:sx n="84" d="100"/>
          <a:sy n="84" d="100"/>
        </p:scale>
        <p:origin x="-1968" y="-84"/>
      </p:cViewPr>
      <p:guideLst>
        <p:guide orient="horz" pos="3110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1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11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11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pieChart>
        <c:varyColors val="1"/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552214254614269"/>
          <c:y val="0.79323115994426863"/>
          <c:w val="0.74550079167589833"/>
          <c:h val="0.13889552479700801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pieChart>
        <c:varyColors val="1"/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0078337848437908"/>
          <c:y val="0.8000184914701417"/>
          <c:w val="0.37670556756446988"/>
          <c:h val="0.13889552479700801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pieChart>
        <c:varyColors val="1"/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0621519042564038"/>
          <c:y val="0.79323115994426863"/>
          <c:w val="0.37670556756446988"/>
          <c:h val="0.13889552479700801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0" i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0" i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389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80538"/>
            <a:ext cx="2946400" cy="49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0" i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389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380538"/>
            <a:ext cx="2946400" cy="49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0" i="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FC1D3CB-B161-42A2-956E-6C718A7E8CF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0" i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0" i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0275" y="739775"/>
            <a:ext cx="4937125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691063"/>
            <a:ext cx="4984750" cy="4443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noProof="0" smtClean="0"/>
              <a:t>Образец текста</a:t>
            </a:r>
          </a:p>
          <a:p>
            <a:pPr lvl="1"/>
            <a:r>
              <a:rPr lang="ru-RU" altLang="ru-RU" noProof="0" smtClean="0"/>
              <a:t>Второй уровень</a:t>
            </a:r>
          </a:p>
          <a:p>
            <a:pPr lvl="2"/>
            <a:r>
              <a:rPr lang="ru-RU" altLang="ru-RU" noProof="0" smtClean="0"/>
              <a:t>Третий уровень</a:t>
            </a:r>
          </a:p>
          <a:p>
            <a:pPr lvl="3"/>
            <a:r>
              <a:rPr lang="ru-RU" altLang="ru-RU" noProof="0" smtClean="0"/>
              <a:t>Четвертый уровень</a:t>
            </a:r>
          </a:p>
          <a:p>
            <a:pPr lvl="4"/>
            <a:r>
              <a:rPr lang="ru-RU" altLang="ru-RU" noProof="0" smtClean="0"/>
              <a:t>Пятый уровень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80538"/>
            <a:ext cx="2946400" cy="49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0" i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380538"/>
            <a:ext cx="2946400" cy="49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0" i="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74462B2-5792-4D2E-8F7B-7AB4D76EAE3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5E54DF33-08C6-413C-98BD-63FBC01CD163}" type="slidenum">
              <a:rPr lang="ru-RU" altLang="ru-RU">
                <a:solidFill>
                  <a:srgbClr val="000000"/>
                </a:solidFill>
              </a:rPr>
              <a:pPr/>
              <a:t>4</a:t>
            </a:fld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en-US" alt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E790E5E9-2019-4F89-8EBE-4AF6197CD5E7}" type="slidenum">
              <a:rPr lang="ru-RU" altLang="ru-RU">
                <a:solidFill>
                  <a:srgbClr val="000000"/>
                </a:solidFill>
              </a:rPr>
              <a:pPr/>
              <a:t>5</a:t>
            </a:fld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en-US" alt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C971FF47-B28A-428D-915D-3302B2F2960A}" type="slidenum">
              <a:rPr lang="ru-RU" altLang="ru-RU">
                <a:solidFill>
                  <a:srgbClr val="000000"/>
                </a:solidFill>
              </a:rPr>
              <a:pPr/>
              <a:t>6</a:t>
            </a:fld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en-US" altLang="ru-R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545B0166-306C-48EC-A05E-6663C458E2C5}" type="slidenum">
              <a:rPr lang="ru-RU" altLang="ru-RU">
                <a:solidFill>
                  <a:srgbClr val="000000"/>
                </a:solidFill>
              </a:rPr>
              <a:pPr/>
              <a:t>7</a:t>
            </a:fld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en-US" altLang="ru-RU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A4BDB834-41BA-4399-AAED-4BEDB7EFAE32}" type="slidenum">
              <a:rPr lang="ru-RU" altLang="ru-RU">
                <a:solidFill>
                  <a:srgbClr val="000000"/>
                </a:solidFill>
              </a:rPr>
              <a:pPr/>
              <a:t>8</a:t>
            </a:fld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en-US" altLang="ru-RU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C1F05B4E-7D48-4856-9448-4D1E874A966A}" type="slidenum">
              <a:rPr lang="ru-RU" altLang="ru-RU">
                <a:solidFill>
                  <a:srgbClr val="000000"/>
                </a:solidFill>
              </a:rPr>
              <a:pPr/>
              <a:t>9</a:t>
            </a:fld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en-US" altLang="ru-RU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C1F05B4E-7D48-4856-9448-4D1E874A966A}" type="slidenum">
              <a:rPr lang="ru-RU" altLang="ru-RU">
                <a:solidFill>
                  <a:srgbClr val="000000"/>
                </a:solidFill>
              </a:rPr>
              <a:pPr/>
              <a:t>10</a:t>
            </a:fld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en-US" altLang="ru-RU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C1F05B4E-7D48-4856-9448-4D1E874A966A}" type="slidenum">
              <a:rPr lang="ru-RU" altLang="ru-RU">
                <a:solidFill>
                  <a:srgbClr val="000000"/>
                </a:solidFill>
              </a:rPr>
              <a:pPr/>
              <a:t>11</a:t>
            </a:fld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en-US" alt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ECA87-1504-4D8B-ADC2-849EE5B69FE2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617C4B-91C1-428A-8F91-05388B3115B2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B505BA-1378-4B82-9F95-677587362B12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Титульный 1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/>
          <a:stretch/>
        </p:blipFill>
        <p:spPr bwMode="auto">
          <a:xfrm>
            <a:off x="150895" y="0"/>
            <a:ext cx="8993105" cy="6858000"/>
          </a:xfrm>
          <a:prstGeom prst="rect">
            <a:avLst/>
          </a:prstGeom>
        </p:spPr>
      </p:pic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658534" y="2955824"/>
            <a:ext cx="3956195" cy="855953"/>
          </a:xfrm>
          <a:prstGeom prst="rect">
            <a:avLst/>
          </a:prstGeom>
        </p:spPr>
        <p:txBody>
          <a:bodyPr/>
          <a:lstStyle>
            <a:lvl1pPr>
              <a:defRPr sz="2800" b="0" i="0">
                <a:solidFill>
                  <a:schemeClr val="tx1">
                    <a:lumMod val="75000"/>
                    <a:lumOff val="25000"/>
                  </a:schemeClr>
                </a:solidFill>
                <a:latin typeface="Foco"/>
                <a:cs typeface="Foco"/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 cstate="print"/>
          <a:stretch/>
        </p:blipFill>
        <p:spPr bwMode="auto">
          <a:xfrm>
            <a:off x="574862" y="1622451"/>
            <a:ext cx="1256832" cy="1206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Текстовый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/>
          <a:stretch/>
        </p:blipFill>
        <p:spPr bwMode="auto">
          <a:xfrm>
            <a:off x="150895" y="0"/>
            <a:ext cx="8993105" cy="68580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3" cstate="print"/>
          <a:stretch/>
        </p:blipFill>
        <p:spPr bwMode="auto">
          <a:xfrm>
            <a:off x="370114" y="6299553"/>
            <a:ext cx="1096595" cy="351692"/>
          </a:xfrm>
          <a:prstGeom prst="rect">
            <a:avLst/>
          </a:prstGeom>
        </p:spPr>
      </p:pic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6772008" y="6356351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Foco"/>
                <a:cs typeface="Foco"/>
              </a:defRPr>
            </a:lvl1pPr>
          </a:lstStyle>
          <a:p>
            <a:pPr>
              <a:defRPr/>
            </a:pPr>
            <a:fld id="{9220A0DF-CBC2-674B-ABF2-6581B22A580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 bwMode="auto">
          <a:xfrm>
            <a:off x="370114" y="1029157"/>
            <a:ext cx="8459294" cy="531214"/>
          </a:xfrm>
          <a:prstGeom prst="rect">
            <a:avLst/>
          </a:prstGeom>
        </p:spPr>
        <p:txBody>
          <a:bodyPr/>
          <a:lstStyle>
            <a:lvl1pPr>
              <a:defRPr sz="2800" b="1" i="0">
                <a:solidFill>
                  <a:schemeClr val="tx1">
                    <a:lumMod val="75000"/>
                    <a:lumOff val="25000"/>
                  </a:schemeClr>
                </a:solidFill>
                <a:latin typeface="Foco"/>
                <a:cs typeface="Foco"/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8" name="Объект 2"/>
          <p:cNvSpPr>
            <a:spLocks noGrp="1"/>
          </p:cNvSpPr>
          <p:nvPr>
            <p:ph idx="1"/>
          </p:nvPr>
        </p:nvSpPr>
        <p:spPr bwMode="auto">
          <a:xfrm>
            <a:off x="370114" y="1685384"/>
            <a:ext cx="4121876" cy="440741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Foco"/>
                <a:cs typeface="Foco"/>
              </a:defRPr>
            </a:lvl1pPr>
          </a:lstStyle>
          <a:p>
            <a:pPr>
              <a:defRPr/>
            </a:pPr>
            <a:r>
              <a:rPr lang="ru-RU"/>
              <a:t>Образец текста</a:t>
            </a:r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1F0EC0E9-7F37-460F-B80D-CE1B4DABB01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91" y="1588"/>
          <a:ext cx="1191" cy="1588"/>
        </p:xfrm>
        <a:graphic>
          <a:graphicData uri="http://schemas.openxmlformats.org/presentationml/2006/ole">
            <p:oleObj spid="_x0000_s2050" name="Слайд think-cell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C02161E-7A98-46AE-9CDC-947C6E8C6A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08E3E858-C3C2-1647-AE7E-8976146BE1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893" y="344482"/>
            <a:ext cx="8500889" cy="653722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80000"/>
              </a:lnSpc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995121B0-7FEF-154A-A831-FC037561825C}"/>
              </a:ext>
            </a:extLst>
          </p:cNvPr>
          <p:cNvCxnSpPr>
            <a:cxnSpLocks/>
          </p:cNvCxnSpPr>
          <p:nvPr/>
        </p:nvCxnSpPr>
        <p:spPr>
          <a:xfrm>
            <a:off x="322893" y="6095891"/>
            <a:ext cx="8500889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84E6B715-EEA5-424F-BE8B-1CF8CB011F35}"/>
              </a:ext>
            </a:extLst>
          </p:cNvPr>
          <p:cNvCxnSpPr>
            <a:cxnSpLocks/>
          </p:cNvCxnSpPr>
          <p:nvPr/>
        </p:nvCxnSpPr>
        <p:spPr>
          <a:xfrm>
            <a:off x="322893" y="1106581"/>
            <a:ext cx="8500889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ижний колонтитул 4">
            <a:extLst>
              <a:ext uri="{FF2B5EF4-FFF2-40B4-BE49-F238E27FC236}">
                <a16:creationId xmlns:a16="http://schemas.microsoft.com/office/drawing/2014/main" xmlns="" id="{059B6C88-1E7D-4517-A095-A0A29B43C943}"/>
              </a:ext>
            </a:extLst>
          </p:cNvPr>
          <p:cNvSpPr txBox="1">
            <a:spLocks/>
          </p:cNvSpPr>
          <p:nvPr/>
        </p:nvSpPr>
        <p:spPr>
          <a:xfrm>
            <a:off x="2550102" y="6281163"/>
            <a:ext cx="4043797" cy="1933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dirty="0">
                <a:solidFill>
                  <a:srgbClr val="004993"/>
                </a:solidFill>
              </a:rPr>
              <a:t>ФосАгро | Повышение эффективности системы </a:t>
            </a:r>
            <a:r>
              <a:rPr lang="ru-RU" dirty="0" err="1">
                <a:solidFill>
                  <a:srgbClr val="004993"/>
                </a:solidFill>
              </a:rPr>
              <a:t>ТОиР</a:t>
            </a:r>
            <a:endParaRPr lang="en-GB" dirty="0">
              <a:solidFill>
                <a:srgbClr val="004993"/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9F13A834-54DC-4F77-852B-E6CE6FBE9792}"/>
              </a:ext>
            </a:extLst>
          </p:cNvPr>
          <p:cNvSpPr txBox="1">
            <a:spLocks/>
          </p:cNvSpPr>
          <p:nvPr/>
        </p:nvSpPr>
        <p:spPr>
          <a:xfrm>
            <a:off x="8492120" y="6115598"/>
            <a:ext cx="323261" cy="52448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r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E55804-D118-2B4A-AD41-9C544F0DF4A9}" type="slidenum">
              <a:rPr lang="en-GB" smtClean="0">
                <a:solidFill>
                  <a:srgbClr val="004A93"/>
                </a:solidFill>
              </a:rPr>
              <a:pPr/>
              <a:t>‹#›</a:t>
            </a:fld>
            <a:endParaRPr lang="en-GB" dirty="0">
              <a:solidFill>
                <a:srgbClr val="004A93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1DF3BC65-E1B9-4547-AF69-70426CDA61E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302063" y="6189192"/>
            <a:ext cx="1156631" cy="244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189572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166D5-CCBA-4551-A760-EDA9F0D8B6B6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BA8838-65DB-40F1-B3E7-AB9203B549DD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400FB-6E44-4DA9-B551-5EDFF4685FFE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98948-F0C9-4004-AFE4-96A63E90BA32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F11E73-B360-41B3-9F5B-0A858251A41E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6AEAE0-C514-4B54-94AB-79BE80EC0E99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436464-9816-46CF-91A2-7B458EF33A67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037B04-52C0-4577-ABD7-DFFD6E7DF395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alt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alt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C30DB0-E808-4A4D-ACDB-3698C6ED10C0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  <p:sldLayoutId id="2147483876" r:id="rId12"/>
    <p:sldLayoutId id="2147483877" r:id="rId13"/>
    <p:sldLayoutId id="2147483878" r:id="rId14"/>
  </p:sldLayoutIdLst>
  <p:transition spd="med">
    <p:blinds/>
  </p:transition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5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emf"/><Relationship Id="rId5" Type="http://schemas.openxmlformats.org/officeDocument/2006/relationships/image" Target="../media/image13.emf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8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1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950" y="115888"/>
            <a:ext cx="1119188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3" name="TextBox 3"/>
          <p:cNvSpPr txBox="1">
            <a:spLocks noChangeArrowheads="1"/>
          </p:cNvSpPr>
          <p:nvPr/>
        </p:nvSpPr>
        <p:spPr bwMode="auto">
          <a:xfrm>
            <a:off x="468313" y="1557338"/>
            <a:ext cx="8064500" cy="452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altLang="ru-RU"/>
              <a:t>      Для развития изысканий  в области  ламп накаливания, их применения в быту и вообще, для объединения научных сил в области электротехники в 1879-1880 годах был образован </a:t>
            </a:r>
            <a:r>
              <a:rPr lang="ru-RU" altLang="ru-RU" i="0">
                <a:solidFill>
                  <a:srgbClr val="FF0000"/>
                </a:solidFill>
              </a:rPr>
              <a:t>особый </a:t>
            </a:r>
            <a:r>
              <a:rPr lang="en-US" altLang="ru-RU" i="0">
                <a:solidFill>
                  <a:srgbClr val="FF0000"/>
                </a:solidFill>
              </a:rPr>
              <a:t>VI (</a:t>
            </a:r>
            <a:r>
              <a:rPr lang="ru-RU" altLang="ru-RU" i="0">
                <a:solidFill>
                  <a:srgbClr val="FF0000"/>
                </a:solidFill>
              </a:rPr>
              <a:t>электротехнический) отдел </a:t>
            </a:r>
            <a:r>
              <a:rPr lang="ru-RU" altLang="ru-RU" i="0">
                <a:solidFill>
                  <a:schemeClr val="tx1"/>
                </a:solidFill>
              </a:rPr>
              <a:t>в составе </a:t>
            </a:r>
            <a:r>
              <a:rPr lang="ru-RU" altLang="ru-RU" i="0">
                <a:solidFill>
                  <a:srgbClr val="FF0000"/>
                </a:solidFill>
              </a:rPr>
              <a:t>Императорского Русского технического общества </a:t>
            </a:r>
            <a:r>
              <a:rPr lang="ru-RU" altLang="ru-RU">
                <a:solidFill>
                  <a:schemeClr val="tx1"/>
                </a:solidFill>
              </a:rPr>
              <a:t>(ИРТО).</a:t>
            </a:r>
          </a:p>
          <a:p>
            <a:pPr algn="just"/>
            <a:r>
              <a:rPr lang="ru-RU" altLang="ru-RU">
                <a:solidFill>
                  <a:schemeClr val="tx1"/>
                </a:solidFill>
              </a:rPr>
              <a:t>      При его содействии 10 мая 1880 года на Литейном мосту в Санкт-Петербурге была введена в строй первая в Российской Империи установка наружного электрического освещения дуговыми «лампами Яблочкова».</a:t>
            </a:r>
          </a:p>
          <a:p>
            <a:pPr algn="just"/>
            <a:r>
              <a:rPr lang="ru-RU" altLang="ru-RU">
                <a:solidFill>
                  <a:schemeClr val="tx1"/>
                </a:solidFill>
              </a:rPr>
              <a:t>       </a:t>
            </a:r>
            <a:endParaRPr lang="ru-RU" altLang="ru-RU"/>
          </a:p>
        </p:txBody>
      </p:sp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ChangeArrowheads="1"/>
          </p:cNvSpPr>
          <p:nvPr/>
        </p:nvSpPr>
        <p:spPr bwMode="auto">
          <a:xfrm>
            <a:off x="230188" y="152400"/>
            <a:ext cx="8763000" cy="6477000"/>
          </a:xfrm>
          <a:prstGeom prst="rect">
            <a:avLst/>
          </a:prstGeom>
          <a:noFill/>
          <a:ln w="76200" cmpd="tri">
            <a:solidFill>
              <a:srgbClr val="D1D2BE"/>
            </a:solidFill>
            <a:miter lim="800000"/>
            <a:headEnd/>
            <a:tailEnd/>
          </a:ln>
          <a:effectLst>
            <a:prstShdw prst="shdw17" dist="17961" dir="2700000">
              <a:srgbClr val="7186D3"/>
            </a:prstShdw>
          </a:effectLst>
        </p:spPr>
        <p:txBody>
          <a:bodyPr wrap="none" anchor="ctr"/>
          <a:lstStyle/>
          <a:p>
            <a:endParaRPr lang="ru-RU" altLang="ru-RU"/>
          </a:p>
        </p:txBody>
      </p:sp>
      <p:sp useBgFill="1">
        <p:nvSpPr>
          <p:cNvPr id="22531" name="Rectangle 3"/>
          <p:cNvSpPr>
            <a:spLocks noChangeArrowheads="1"/>
          </p:cNvSpPr>
          <p:nvPr/>
        </p:nvSpPr>
        <p:spPr bwMode="auto">
          <a:xfrm>
            <a:off x="323528" y="476672"/>
            <a:ext cx="8377808" cy="6021388"/>
          </a:xfrm>
          <a:prstGeom prst="rect">
            <a:avLst/>
          </a:prstGeom>
          <a:ln w="76200" cmpd="tri">
            <a:solidFill>
              <a:srgbClr val="FFFFCC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/>
          <a:p>
            <a:pPr algn="just">
              <a:spcBef>
                <a:spcPct val="20000"/>
              </a:spcBef>
              <a:buFontTx/>
              <a:buChar char="•"/>
              <a:defRPr/>
            </a:pPr>
            <a:endParaRPr lang="ru-RU" altLang="ru-RU" sz="2000"/>
          </a:p>
        </p:txBody>
      </p:sp>
      <p:sp>
        <p:nvSpPr>
          <p:cNvPr id="14340" name="Rectangle 12"/>
          <p:cNvSpPr>
            <a:spLocks noChangeArrowheads="1"/>
          </p:cNvSpPr>
          <p:nvPr/>
        </p:nvSpPr>
        <p:spPr bwMode="auto">
          <a:xfrm>
            <a:off x="251520" y="260648"/>
            <a:ext cx="85693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bg2"/>
            </a:prstShdw>
          </a:effectLst>
        </p:spPr>
        <p:txBody>
          <a:bodyPr wrap="none" anchor="ctr"/>
          <a:lstStyle/>
          <a:p>
            <a:endParaRPr lang="ru-RU" altLang="ru-RU"/>
          </a:p>
        </p:txBody>
      </p:sp>
      <p:sp>
        <p:nvSpPr>
          <p:cNvPr id="280580" name="Rectangle 4"/>
          <p:cNvSpPr>
            <a:spLocks noChangeArrowheads="1"/>
          </p:cNvSpPr>
          <p:nvPr/>
        </p:nvSpPr>
        <p:spPr bwMode="auto">
          <a:xfrm>
            <a:off x="1820863" y="549275"/>
            <a:ext cx="6772275" cy="1103313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/>
            <a:ext uri="{91240B29-F687-4F45-9708-019B960494DF}"/>
          </a:extLst>
        </p:spPr>
        <p:txBody>
          <a:bodyPr lIns="91433" tIns="45716" rIns="91433" bIns="45716"/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defRPr/>
            </a:pPr>
            <a:r>
              <a:rPr lang="ru-RU" sz="1800" i="0" dirty="0" smtClean="0"/>
              <a:t>Предприятия по категориям  риска</a:t>
            </a:r>
            <a:endParaRPr lang="ru-RU" sz="1800" dirty="0" smtClean="0"/>
          </a:p>
          <a:p>
            <a:pPr algn="ctr">
              <a:defRPr/>
            </a:pPr>
            <a:endParaRPr lang="ru-RU" altLang="ru-RU" sz="1800" dirty="0">
              <a:solidFill>
                <a:srgbClr val="FFFFFF"/>
              </a:solidFill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pic>
        <p:nvPicPr>
          <p:cNvPr id="14342" name="Picture 1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381000"/>
            <a:ext cx="1119188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65" name="Rectangle 1"/>
          <p:cNvSpPr>
            <a:spLocks noChangeArrowheads="1"/>
          </p:cNvSpPr>
          <p:nvPr/>
        </p:nvSpPr>
        <p:spPr bwMode="auto">
          <a:xfrm>
            <a:off x="0" y="-76607"/>
            <a:ext cx="247184" cy="61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vert="horz" wrap="none" lIns="91440" tIns="25392" rIns="9144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sz="1400" b="0" i="1" u="none" strike="noStrike" cap="none" normalizeH="0" baseline="0" dirty="0" smtClean="0">
              <a:ln>
                <a:noFill/>
              </a:ln>
              <a:solidFill>
                <a:srgbClr val="215868"/>
              </a:solidFill>
              <a:effectLst/>
              <a:latin typeface="Times New Roman" pitchFamily="18" charset="0"/>
              <a:ea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1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Times New Roman" pitchFamily="18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1552257" y="2628900"/>
          <a:ext cx="6039485" cy="1519300"/>
        </p:xfrm>
        <a:graphic>
          <a:graphicData uri="http://schemas.openxmlformats.org/drawingml/2006/table">
            <a:tbl>
              <a:tblPr/>
              <a:tblGrid>
                <a:gridCol w="3028315"/>
                <a:gridCol w="3011170"/>
              </a:tblGrid>
              <a:tr h="0">
                <a:tc>
                  <a:txBody>
                    <a:bodyPr/>
                    <a:lstStyle/>
                    <a:p>
                      <a:pPr indent="54038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высокого риска</a:t>
                      </a:r>
                      <a:endParaRPr lang="ru-RU" sz="11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54038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chemeClr val="tx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0</a:t>
                      </a:r>
                      <a:endParaRPr lang="ru-RU" sz="11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54038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значительного риска</a:t>
                      </a:r>
                      <a:endParaRPr lang="ru-RU" sz="11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54038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98</a:t>
                      </a:r>
                      <a:endParaRPr lang="ru-RU" sz="11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6044">
                <a:tc>
                  <a:txBody>
                    <a:bodyPr/>
                    <a:lstStyle/>
                    <a:p>
                      <a:pPr indent="54038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реднего риска</a:t>
                      </a:r>
                      <a:endParaRPr lang="ru-RU" sz="11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54038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63</a:t>
                      </a:r>
                      <a:endParaRPr lang="ru-RU" sz="11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54038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chemeClr val="tx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умеренного риска</a:t>
                      </a:r>
                      <a:endParaRPr lang="ru-RU" sz="11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54038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685</a:t>
                      </a:r>
                      <a:endParaRPr lang="ru-RU" sz="11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54038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низкого риска</a:t>
                      </a:r>
                      <a:endParaRPr lang="ru-RU" sz="11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54038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26</a:t>
                      </a:r>
                      <a:endParaRPr lang="ru-RU" sz="11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ChangeArrowheads="1"/>
          </p:cNvSpPr>
          <p:nvPr/>
        </p:nvSpPr>
        <p:spPr bwMode="auto">
          <a:xfrm>
            <a:off x="230188" y="152400"/>
            <a:ext cx="8763000" cy="6477000"/>
          </a:xfrm>
          <a:prstGeom prst="rect">
            <a:avLst/>
          </a:prstGeom>
          <a:noFill/>
          <a:ln w="76200" cmpd="tri">
            <a:solidFill>
              <a:srgbClr val="D1D2BE"/>
            </a:solidFill>
            <a:miter lim="800000"/>
            <a:headEnd/>
            <a:tailEnd/>
          </a:ln>
          <a:effectLst>
            <a:prstShdw prst="shdw17" dist="17961" dir="2700000">
              <a:srgbClr val="7186D3"/>
            </a:prstShdw>
          </a:effectLst>
        </p:spPr>
        <p:txBody>
          <a:bodyPr wrap="none" anchor="ctr"/>
          <a:lstStyle/>
          <a:p>
            <a:endParaRPr lang="ru-RU" altLang="ru-RU"/>
          </a:p>
        </p:txBody>
      </p:sp>
      <p:sp useBgFill="1">
        <p:nvSpPr>
          <p:cNvPr id="22531" name="Rectangle 3"/>
          <p:cNvSpPr>
            <a:spLocks noChangeArrowheads="1"/>
          </p:cNvSpPr>
          <p:nvPr/>
        </p:nvSpPr>
        <p:spPr bwMode="auto">
          <a:xfrm>
            <a:off x="395536" y="332656"/>
            <a:ext cx="8377808" cy="5301308"/>
          </a:xfrm>
          <a:prstGeom prst="rect">
            <a:avLst/>
          </a:prstGeom>
          <a:ln w="76200" cmpd="tri">
            <a:solidFill>
              <a:srgbClr val="FFFFCC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/>
          <a:p>
            <a:r>
              <a:rPr lang="ru-RU" sz="2000" b="0" i="0" dirty="0" smtClean="0"/>
              <a:t>АО «Апатит» (Вологодская область)</a:t>
            </a:r>
            <a:endParaRPr lang="ru-RU" sz="2000" b="0" i="0" dirty="0"/>
          </a:p>
        </p:txBody>
      </p:sp>
      <p:sp>
        <p:nvSpPr>
          <p:cNvPr id="14340" name="Rectangle 12"/>
          <p:cNvSpPr>
            <a:spLocks noChangeArrowheads="1"/>
          </p:cNvSpPr>
          <p:nvPr/>
        </p:nvSpPr>
        <p:spPr bwMode="auto">
          <a:xfrm>
            <a:off x="251520" y="260648"/>
            <a:ext cx="85693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bg2"/>
            </a:prstShdw>
          </a:effectLst>
        </p:spPr>
        <p:txBody>
          <a:bodyPr wrap="none" anchor="ctr"/>
          <a:lstStyle/>
          <a:p>
            <a:endParaRPr lang="ru-RU" altLang="ru-RU"/>
          </a:p>
        </p:txBody>
      </p:sp>
      <p:sp>
        <p:nvSpPr>
          <p:cNvPr id="280580" name="Rectangle 4"/>
          <p:cNvSpPr>
            <a:spLocks noChangeArrowheads="1"/>
          </p:cNvSpPr>
          <p:nvPr/>
        </p:nvSpPr>
        <p:spPr bwMode="auto">
          <a:xfrm>
            <a:off x="1835696" y="548680"/>
            <a:ext cx="6772275" cy="1103313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/>
            <a:ext uri="{91240B29-F687-4F45-9708-019B960494DF}"/>
          </a:extLst>
        </p:spPr>
        <p:txBody>
          <a:bodyPr lIns="91433" tIns="45716" rIns="91433" bIns="45716"/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defRPr/>
            </a:pPr>
            <a:endParaRPr lang="ru-RU" altLang="ru-RU" sz="1800" dirty="0">
              <a:solidFill>
                <a:srgbClr val="FFFFFF"/>
              </a:solidFill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pic>
        <p:nvPicPr>
          <p:cNvPr id="14342" name="Picture 1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381000"/>
            <a:ext cx="1119188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65" name="Rectangle 1"/>
          <p:cNvSpPr>
            <a:spLocks noChangeArrowheads="1"/>
          </p:cNvSpPr>
          <p:nvPr/>
        </p:nvSpPr>
        <p:spPr bwMode="auto">
          <a:xfrm>
            <a:off x="0" y="-76607"/>
            <a:ext cx="247184" cy="61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vert="horz" wrap="none" lIns="91440" tIns="25392" rIns="9144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sz="1400" b="0" i="1" u="none" strike="noStrike" cap="none" normalizeH="0" baseline="0" dirty="0" smtClean="0">
              <a:ln>
                <a:noFill/>
              </a:ln>
              <a:solidFill>
                <a:srgbClr val="215868"/>
              </a:solidFill>
              <a:effectLst/>
              <a:latin typeface="Times New Roman" pitchFamily="18" charset="0"/>
              <a:ea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1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Times New Roman" pitchFamily="18" charset="0"/>
            </a:endParaRPr>
          </a:p>
        </p:txBody>
      </p:sp>
      <p:pic>
        <p:nvPicPr>
          <p:cNvPr id="1026" name="Picture 2" descr="C:\Users\Cherenkova\Desktop\ef917813777220750c01b16886f5d66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544" y="1700808"/>
            <a:ext cx="8280920" cy="46805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Прямоугольник 11"/>
          <p:cNvSpPr/>
          <p:nvPr/>
        </p:nvSpPr>
        <p:spPr>
          <a:xfrm>
            <a:off x="2123728" y="764704"/>
            <a:ext cx="64087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0" i="0" dirty="0" smtClean="0"/>
              <a:t>          АО</a:t>
            </a:r>
            <a:r>
              <a:rPr lang="ru-RU" b="0" i="0" dirty="0" smtClean="0"/>
              <a:t> «Апатит» (Вологодская область)</a:t>
            </a:r>
            <a:endParaRPr lang="ru-RU" b="0" i="0" dirty="0"/>
          </a:p>
        </p:txBody>
      </p:sp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764060" y="2972300"/>
            <a:ext cx="4005129" cy="855953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dirty="0">
                <a:solidFill>
                  <a:srgbClr val="26677F"/>
                </a:solidFill>
                <a:latin typeface="+mj-lt"/>
              </a:rPr>
              <a:t>Мероприятия программы по повышению </a:t>
            </a:r>
            <a:r>
              <a:rPr lang="ru-RU" dirty="0" err="1">
                <a:solidFill>
                  <a:srgbClr val="26677F"/>
                </a:solidFill>
                <a:latin typeface="+mj-lt"/>
              </a:rPr>
              <a:t>энергонадежности</a:t>
            </a:r>
            <a:r>
              <a:rPr lang="ru-RU" dirty="0">
                <a:solidFill>
                  <a:srgbClr val="26677F"/>
                </a:solidFill>
                <a:latin typeface="+mj-lt"/>
              </a:rPr>
              <a:t>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086599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9220A0DF-CBC2-674B-ABF2-6581B22A5803}" type="slidenum">
              <a:rPr lang="ru-RU" sz="1800" b="0" i="0" u="none" strike="noStrike" cap="none" spc="0">
                <a:ln>
                  <a:noFill/>
                </a:ln>
                <a:solidFill>
                  <a:srgbClr val="252525">
                    <a:lumMod val="75000"/>
                    <a:lumOff val="25000"/>
                  </a:srgbClr>
                </a:solidFill>
                <a:ea typeface="+mn-ea"/>
              </a:rPr>
              <a:pPr marL="0" marR="0" lvl="0" indent="0" algn="r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t>12</a:t>
            </a:fld>
            <a:endParaRPr lang="ru-RU" sz="1800" b="0" i="0" u="none" strike="noStrike" cap="none" spc="0">
              <a:ln>
                <a:noFill/>
              </a:ln>
              <a:solidFill>
                <a:srgbClr val="252525">
                  <a:lumMod val="75000"/>
                  <a:lumOff val="25000"/>
                </a:srgbClr>
              </a:solidFill>
              <a:ea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7"/>
          <p:cNvSpPr>
            <a:spLocks noGrp="1"/>
          </p:cNvSpPr>
          <p:nvPr>
            <p:ph type="title"/>
          </p:nvPr>
        </p:nvSpPr>
        <p:spPr bwMode="auto">
          <a:xfrm>
            <a:off x="429372" y="460388"/>
            <a:ext cx="8400036" cy="378048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200" dirty="0">
                <a:solidFill>
                  <a:srgbClr val="2B5F72"/>
                </a:solidFill>
                <a:latin typeface="+mn-lt"/>
              </a:rPr>
              <a:t>Программа модернизации трансформаторов ГПП напряжением 35 </a:t>
            </a:r>
            <a:r>
              <a:rPr lang="ru-RU" sz="2200" dirty="0" err="1">
                <a:solidFill>
                  <a:srgbClr val="2B5F72"/>
                </a:solidFill>
                <a:latin typeface="+mn-lt"/>
              </a:rPr>
              <a:t>кВ</a:t>
            </a:r>
            <a:r>
              <a:rPr lang="ru-RU" sz="2200" dirty="0">
                <a:solidFill>
                  <a:srgbClr val="2B5F72"/>
                </a:solidFill>
                <a:latin typeface="+mn-lt"/>
              </a:rPr>
              <a:t> и выше ЧК АО "Апатит"</a:t>
            </a:r>
            <a:endParaRPr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220A0DF-CBC2-674B-ABF2-6581B22A5803}" type="slidenum">
              <a:rPr lang="ru-RU"/>
              <a:pPr>
                <a:defRPr/>
              </a:pPr>
              <a:t>13</a:t>
            </a:fld>
            <a:endParaRPr lang="ru-RU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015358751"/>
              </p:ext>
            </p:extLst>
          </p:nvPr>
        </p:nvGraphicFramePr>
        <p:xfrm>
          <a:off x="753761" y="1151373"/>
          <a:ext cx="7790936" cy="30213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6561">
                  <a:extLst>
                    <a:ext uri="{9D8B030D-6E8A-4147-A177-3AD203B41FA5}">
                      <a16:colId xmlns:a16="http://schemas.microsoft.com/office/drawing/2014/main" xmlns="" val="2058149036"/>
                    </a:ext>
                  </a:extLst>
                </a:gridCol>
                <a:gridCol w="888162">
                  <a:extLst>
                    <a:ext uri="{9D8B030D-6E8A-4147-A177-3AD203B41FA5}">
                      <a16:colId xmlns:a16="http://schemas.microsoft.com/office/drawing/2014/main" xmlns="" val="4175992777"/>
                    </a:ext>
                  </a:extLst>
                </a:gridCol>
                <a:gridCol w="1063841">
                  <a:extLst>
                    <a:ext uri="{9D8B030D-6E8A-4147-A177-3AD203B41FA5}">
                      <a16:colId xmlns:a16="http://schemas.microsoft.com/office/drawing/2014/main" xmlns="" val="2551466707"/>
                    </a:ext>
                  </a:extLst>
                </a:gridCol>
                <a:gridCol w="1084897">
                  <a:extLst>
                    <a:ext uri="{9D8B030D-6E8A-4147-A177-3AD203B41FA5}">
                      <a16:colId xmlns:a16="http://schemas.microsoft.com/office/drawing/2014/main" xmlns="" val="2374065184"/>
                    </a:ext>
                  </a:extLst>
                </a:gridCol>
                <a:gridCol w="1173892">
                  <a:extLst>
                    <a:ext uri="{9D8B030D-6E8A-4147-A177-3AD203B41FA5}">
                      <a16:colId xmlns:a16="http://schemas.microsoft.com/office/drawing/2014/main" xmlns="" val="3610631772"/>
                    </a:ext>
                  </a:extLst>
                </a:gridCol>
                <a:gridCol w="889687">
                  <a:extLst>
                    <a:ext uri="{9D8B030D-6E8A-4147-A177-3AD203B41FA5}">
                      <a16:colId xmlns:a16="http://schemas.microsoft.com/office/drawing/2014/main" xmlns="" val="1793462919"/>
                    </a:ext>
                  </a:extLst>
                </a:gridCol>
                <a:gridCol w="562232">
                  <a:extLst>
                    <a:ext uri="{9D8B030D-6E8A-4147-A177-3AD203B41FA5}">
                      <a16:colId xmlns:a16="http://schemas.microsoft.com/office/drawing/2014/main" xmlns="" val="2343779340"/>
                    </a:ext>
                  </a:extLst>
                </a:gridCol>
                <a:gridCol w="574589">
                  <a:extLst>
                    <a:ext uri="{9D8B030D-6E8A-4147-A177-3AD203B41FA5}">
                      <a16:colId xmlns:a16="http://schemas.microsoft.com/office/drawing/2014/main" xmlns="" val="160486585"/>
                    </a:ext>
                  </a:extLst>
                </a:gridCol>
                <a:gridCol w="558114">
                  <a:extLst>
                    <a:ext uri="{9D8B030D-6E8A-4147-A177-3AD203B41FA5}">
                      <a16:colId xmlns:a16="http://schemas.microsoft.com/office/drawing/2014/main" xmlns="" val="1613184182"/>
                    </a:ext>
                  </a:extLst>
                </a:gridCol>
                <a:gridCol w="448961">
                  <a:extLst>
                    <a:ext uri="{9D8B030D-6E8A-4147-A177-3AD203B41FA5}">
                      <a16:colId xmlns:a16="http://schemas.microsoft.com/office/drawing/2014/main" xmlns="" val="656638173"/>
                    </a:ext>
                  </a:extLst>
                </a:gridCol>
              </a:tblGrid>
              <a:tr h="571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</a:rPr>
                        <a:t>Филиал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</a:rPr>
                        <a:t>Наименование подстанции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</a:rPr>
                        <a:t>Вид РУ установки трансформатора (ЗРУ/ОРУ)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Диспетчерское наименование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Тип Тр-ра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Фактический срок эксплуатации, лет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2024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2025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2027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2031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625930535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1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2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</a:rPr>
                        <a:t>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</a:rPr>
                        <a:t>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5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6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1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12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18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26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723571995"/>
                  </a:ext>
                </a:extLst>
              </a:tr>
              <a:tr h="255270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ЧК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ГПП-1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ЗРУ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Т1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ТРДЦНГ-63000/220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50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 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 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Т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 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835099681"/>
                  </a:ext>
                </a:extLst>
              </a:tr>
              <a:tr h="2552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ЗРУ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Т2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ТРДЦНГ-63000/220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50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effectLst/>
                        </a:rPr>
                        <a:t>Р+Т</a:t>
                      </a:r>
                    </a:p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ыполнен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 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 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 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708759321"/>
                  </a:ext>
                </a:extLst>
              </a:tr>
              <a:tr h="2552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ГПП-3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ЗРУ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Т2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ТРДЦН-63000/220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35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 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 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 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3709444568"/>
                  </a:ext>
                </a:extLst>
              </a:tr>
              <a:tr h="2552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ЗРУ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Т1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ТРДЦН-63000/220 Е1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4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 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 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3690916430"/>
                  </a:ext>
                </a:extLst>
              </a:tr>
              <a:tr h="2552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ГПП-5А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ЗРУ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Т1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ТРДЦН-63000/220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46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 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Р+Т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506835950"/>
                  </a:ext>
                </a:extLst>
              </a:tr>
              <a:tr h="2552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ЗРУ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Т2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ТРДЦН-63000/220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46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>
                          <a:effectLst/>
                        </a:rPr>
                        <a:t> 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effectLst/>
                        </a:rPr>
                        <a:t>Р+Т</a:t>
                      </a:r>
                    </a:p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ыполнен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810040601"/>
                  </a:ext>
                </a:extLst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803705" y="4376937"/>
            <a:ext cx="222370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0000"/>
                </a:solidFill>
                <a:latin typeface="Calibri" panose="020F0502020204030204" pitchFamily="34" charset="0"/>
              </a:rPr>
              <a:t>Т</a:t>
            </a:r>
            <a:r>
              <a:rPr lang="ru-RU" dirty="0" smtClean="0"/>
              <a:t> </a:t>
            </a:r>
            <a:r>
              <a:rPr lang="ru-RU" dirty="0" smtClean="0">
                <a:solidFill>
                  <a:srgbClr val="000000"/>
                </a:solidFill>
                <a:latin typeface="Calibri" panose="020F0502020204030204" pitchFamily="34" charset="0"/>
              </a:rPr>
              <a:t> - Замена трансформатора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753761" y="4872731"/>
            <a:ext cx="8499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Р+Т</a:t>
            </a:r>
            <a:r>
              <a:rPr lang="ru-RU" dirty="0"/>
              <a:t> </a:t>
            </a: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 - Замена защит трансформатора и трансформатора</a:t>
            </a:r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26429435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1">
            <a:extLst>
              <a:ext uri="{FF2B5EF4-FFF2-40B4-BE49-F238E27FC236}">
                <a16:creationId xmlns:a16="http://schemas.microsoft.com/office/drawing/2014/main" xmlns="" id="{8D5EEFC5-6EB3-4917-A613-AD8D37E063C3}"/>
              </a:ext>
            </a:extLst>
          </p:cNvPr>
          <p:cNvSpPr txBox="1">
            <a:spLocks/>
          </p:cNvSpPr>
          <p:nvPr/>
        </p:nvSpPr>
        <p:spPr>
          <a:xfrm>
            <a:off x="399093" y="403748"/>
            <a:ext cx="8500889" cy="653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sz="2000" dirty="0">
                <a:solidFill>
                  <a:srgbClr val="376092"/>
                </a:solidFill>
              </a:rPr>
              <a:t>Программа модернизации трансформаторного парка ТП/КТП </a:t>
            </a:r>
            <a:r>
              <a:rPr lang="ru-RU" sz="2000" dirty="0" smtClean="0">
                <a:solidFill>
                  <a:srgbClr val="376092"/>
                </a:solidFill>
                <a:cs typeface="Times New Roman" panose="02020603050405020304" pitchFamily="18" charset="0"/>
              </a:rPr>
              <a:t>АО </a:t>
            </a:r>
            <a:r>
              <a:rPr lang="ru-RU" sz="2000" dirty="0">
                <a:solidFill>
                  <a:srgbClr val="376092"/>
                </a:solidFill>
                <a:cs typeface="Times New Roman" panose="02020603050405020304" pitchFamily="18" charset="0"/>
              </a:rPr>
              <a:t>«Апатит», </a:t>
            </a:r>
            <a:r>
              <a:rPr lang="ru-RU" sz="2000" dirty="0" smtClean="0">
                <a:solidFill>
                  <a:srgbClr val="376092"/>
                </a:solidFill>
              </a:rPr>
              <a:t>с </a:t>
            </a:r>
            <a:r>
              <a:rPr lang="ru-RU" sz="2000" dirty="0">
                <a:solidFill>
                  <a:srgbClr val="376092"/>
                </a:solidFill>
              </a:rPr>
              <a:t>переходом на «сухие» </a:t>
            </a:r>
            <a:r>
              <a:rPr lang="ru-RU" sz="2000" dirty="0" smtClean="0">
                <a:solidFill>
                  <a:srgbClr val="376092"/>
                </a:solidFill>
              </a:rPr>
              <a:t>трансформаторы)</a:t>
            </a:r>
            <a:r>
              <a:rPr lang="en-US" sz="2000" dirty="0" smtClean="0">
                <a:solidFill>
                  <a:srgbClr val="376092"/>
                </a:solidFill>
              </a:rPr>
              <a:t> </a:t>
            </a:r>
            <a:r>
              <a:rPr lang="ru-RU" sz="2000" dirty="0" smtClean="0">
                <a:solidFill>
                  <a:srgbClr val="376092"/>
                </a:solidFill>
              </a:rPr>
              <a:t>на 2026 год</a:t>
            </a:r>
            <a:endParaRPr lang="ru-RU" sz="2000" dirty="0">
              <a:solidFill>
                <a:srgbClr val="376092"/>
              </a:solidFill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187A9F98-16E2-453A-08A4-E75665CDB255}"/>
              </a:ext>
            </a:extLst>
          </p:cNvPr>
          <p:cNvSpPr/>
          <p:nvPr/>
        </p:nvSpPr>
        <p:spPr>
          <a:xfrm>
            <a:off x="3178419" y="6308003"/>
            <a:ext cx="2787161" cy="3126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8" name="Диаграмма 7"/>
          <p:cNvGraphicFramePr/>
          <p:nvPr>
            <p:extLst/>
          </p:nvPr>
        </p:nvGraphicFramePr>
        <p:xfrm>
          <a:off x="608641" y="2113276"/>
          <a:ext cx="1753559" cy="1871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0" name="Диаграмма 39"/>
          <p:cNvGraphicFramePr/>
          <p:nvPr>
            <p:extLst/>
          </p:nvPr>
        </p:nvGraphicFramePr>
        <p:xfrm>
          <a:off x="2654299" y="2113276"/>
          <a:ext cx="1753559" cy="1871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1" name="Диаграмма 40"/>
          <p:cNvGraphicFramePr/>
          <p:nvPr>
            <p:extLst/>
          </p:nvPr>
        </p:nvGraphicFramePr>
        <p:xfrm>
          <a:off x="4775199" y="2113275"/>
          <a:ext cx="1753559" cy="1871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5700300"/>
              </p:ext>
            </p:extLst>
          </p:nvPr>
        </p:nvGraphicFramePr>
        <p:xfrm>
          <a:off x="528842" y="1187052"/>
          <a:ext cx="8050429" cy="48169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0122">
                  <a:extLst>
                    <a:ext uri="{9D8B030D-6E8A-4147-A177-3AD203B41FA5}">
                      <a16:colId xmlns:a16="http://schemas.microsoft.com/office/drawing/2014/main" xmlns="" val="1433302239"/>
                    </a:ext>
                  </a:extLst>
                </a:gridCol>
                <a:gridCol w="791963">
                  <a:extLst>
                    <a:ext uri="{9D8B030D-6E8A-4147-A177-3AD203B41FA5}">
                      <a16:colId xmlns:a16="http://schemas.microsoft.com/office/drawing/2014/main" xmlns="" val="1978073661"/>
                    </a:ext>
                  </a:extLst>
                </a:gridCol>
                <a:gridCol w="1781913">
                  <a:extLst>
                    <a:ext uri="{9D8B030D-6E8A-4147-A177-3AD203B41FA5}">
                      <a16:colId xmlns:a16="http://schemas.microsoft.com/office/drawing/2014/main" xmlns="" val="370035882"/>
                    </a:ext>
                  </a:extLst>
                </a:gridCol>
                <a:gridCol w="1159658">
                  <a:extLst>
                    <a:ext uri="{9D8B030D-6E8A-4147-A177-3AD203B41FA5}">
                      <a16:colId xmlns:a16="http://schemas.microsoft.com/office/drawing/2014/main" xmlns="" val="3152878072"/>
                    </a:ext>
                  </a:extLst>
                </a:gridCol>
                <a:gridCol w="1428359">
                  <a:extLst>
                    <a:ext uri="{9D8B030D-6E8A-4147-A177-3AD203B41FA5}">
                      <a16:colId xmlns:a16="http://schemas.microsoft.com/office/drawing/2014/main" xmlns="" val="1421257055"/>
                    </a:ext>
                  </a:extLst>
                </a:gridCol>
                <a:gridCol w="1177334">
                  <a:extLst>
                    <a:ext uri="{9D8B030D-6E8A-4147-A177-3AD203B41FA5}">
                      <a16:colId xmlns:a16="http://schemas.microsoft.com/office/drawing/2014/main" xmlns="" val="1722194089"/>
                    </a:ext>
                  </a:extLst>
                </a:gridCol>
                <a:gridCol w="1301080">
                  <a:extLst>
                    <a:ext uri="{9D8B030D-6E8A-4147-A177-3AD203B41FA5}">
                      <a16:colId xmlns:a16="http://schemas.microsoft.com/office/drawing/2014/main" xmlns="" val="1016253780"/>
                    </a:ext>
                  </a:extLst>
                </a:gridCol>
              </a:tblGrid>
              <a:tr h="47582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станция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хнологическая позиция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плекс,</a:t>
                      </a:r>
                      <a:br>
                        <a:rPr lang="ru-RU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корпуса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существующего трансформатора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 выпуска существующего траансформатора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закупаемого трансформатора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3194643619"/>
                  </a:ext>
                </a:extLst>
              </a:tr>
              <a:tr h="2028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КТП-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РГ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К, к. 10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SK-1000/ 7,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6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Л-1000/6/0,4к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313285978"/>
                  </a:ext>
                </a:extLst>
              </a:tr>
              <a:tr h="16870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П2-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МУ-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К, к. 7.2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 1000/10/0,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-1000/10/0,4к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432841272"/>
                  </a:ext>
                </a:extLst>
              </a:tr>
              <a:tr h="16870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П2-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МУ-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К, к. 7.2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 1000/10/0,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-1000/10/0,4к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2653777326"/>
                  </a:ext>
                </a:extLst>
              </a:tr>
              <a:tr h="16870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П2-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МУ-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К, к. 7.2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 1000/10/0,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-1000/10/0,4к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3718643063"/>
                  </a:ext>
                </a:extLst>
              </a:tr>
              <a:tr h="16870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П2-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МУ-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К, к. 7.2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 1000/10/0,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-1000/10/0,4к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3069703214"/>
                  </a:ext>
                </a:extLst>
              </a:tr>
              <a:tr h="16734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ПТ-3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КП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К, к. 1.3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 1600/10/0,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-2500/10/0,4к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1198291854"/>
                  </a:ext>
                </a:extLst>
              </a:tr>
              <a:tr h="192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ПТ-3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КП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К, к. 1.3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 1600/10/0,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-2500/10/0,4к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2335477306"/>
                  </a:ext>
                </a:extLst>
              </a:tr>
              <a:tr h="16870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 КТП-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ЭЦ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К, к. 15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-1000/6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Л-1000/6/0,4к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1507045779"/>
                  </a:ext>
                </a:extLst>
              </a:tr>
              <a:tr h="16870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 КТП-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ЭЦ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К, к. 15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-1000/6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Л-1000/6/0,4к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262651525"/>
                  </a:ext>
                </a:extLst>
              </a:tr>
              <a:tr h="192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ктп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ЭЦ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К, к. 15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-1000/6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Л-1000/6/0,4к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2758225377"/>
                  </a:ext>
                </a:extLst>
              </a:tr>
              <a:tr h="16870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7 КТП-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ЭЦ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К, к. 65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-1000/6/0,4к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Л-1000/6/0,4к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1803611531"/>
                  </a:ext>
                </a:extLst>
              </a:tr>
              <a:tr h="16870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7 КТП-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ЭЦ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К, к. 65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-1000/6/0,4к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Л-1000/6/0,4к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754362724"/>
                  </a:ext>
                </a:extLst>
              </a:tr>
              <a:tr h="16870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П38-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МУ-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К, к. 2.7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 1600/10/0,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-2500/10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3663488173"/>
                  </a:ext>
                </a:extLst>
              </a:tr>
              <a:tr h="16870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П38-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МУ-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К, к. 2.7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 1600/10/0,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-2500/10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2992907039"/>
                  </a:ext>
                </a:extLst>
              </a:tr>
              <a:tr h="16734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-р№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-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К, к. 30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СТ-</a:t>
                      </a:r>
                      <a:r>
                        <a:rPr lang="en-US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 500/6/0,4</a:t>
                      </a:r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Л-630/6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2402237467"/>
                  </a:ext>
                </a:extLst>
              </a:tr>
              <a:tr h="16734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ктп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-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К, к. 330/0,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-630/6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8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-1000/6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886297816"/>
                  </a:ext>
                </a:extLst>
              </a:tr>
              <a:tr h="16870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5ктп-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ПВГС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К, к.15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-1000/6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Л-1000/6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159113346"/>
                  </a:ext>
                </a:extLst>
              </a:tr>
              <a:tr h="16870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5ктп-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ПВГС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К, к.15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-1000/6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Л-1000/6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1791420730"/>
                  </a:ext>
                </a:extLst>
              </a:tr>
              <a:tr h="16870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П65-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ЭФК-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К. к. 2.1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 1600/10/0,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-2500/10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1136636605"/>
                  </a:ext>
                </a:extLst>
              </a:tr>
              <a:tr h="16870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П65-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ЭФК-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К. к. 2.1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 1600/10/0,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-2500/10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585893372"/>
                  </a:ext>
                </a:extLst>
              </a:tr>
              <a:tr h="1876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П8-1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ЭФК-3 к. 5.58 экстрация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К. к. 5.5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DVE12/1600/10/0,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-2500/10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1862494423"/>
                  </a:ext>
                </a:extLst>
              </a:tr>
              <a:tr h="20791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П8-1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ЭФК-3 к. 5.58 экстрация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К. к. 5.5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DVE12/1600/10/0,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-2500/10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1662868159"/>
                  </a:ext>
                </a:extLst>
              </a:tr>
              <a:tr h="16870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КТП-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ЭС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К, к.14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-1000/6/0,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6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-1000/6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753685433"/>
                  </a:ext>
                </a:extLst>
              </a:tr>
              <a:tr h="16870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КТП-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ЭС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К, к.14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МЗ-1000/6/0,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6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СЗ-1000/6/0,4к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25" marR="3725" marT="4966" marB="0" anchor="ctr"/>
                </a:tc>
                <a:extLst>
                  <a:ext uri="{0D108BD9-81ED-4DB2-BD59-A6C34878D82A}">
                    <a16:rowId xmlns:a16="http://schemas.microsoft.com/office/drawing/2014/main" xmlns="" val="29509920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7476611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 altLang="ru-RU" smtClean="0"/>
          </a:p>
        </p:txBody>
      </p:sp>
      <p:sp>
        <p:nvSpPr>
          <p:cNvPr id="6147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 altLang="ru-RU" smtClean="0"/>
          </a:p>
        </p:txBody>
      </p:sp>
      <p:pic>
        <p:nvPicPr>
          <p:cNvPr id="6148" name="Рисунок 1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31913" y="404813"/>
            <a:ext cx="6335712" cy="6264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blinds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1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950" y="115888"/>
            <a:ext cx="1119188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TextBox 3"/>
          <p:cNvSpPr txBox="1">
            <a:spLocks noChangeArrowheads="1"/>
          </p:cNvSpPr>
          <p:nvPr/>
        </p:nvSpPr>
        <p:spPr bwMode="auto">
          <a:xfrm>
            <a:off x="468313" y="1557338"/>
            <a:ext cx="8064500" cy="452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altLang="ru-RU"/>
              <a:t>             Первая электростанция общего пользования в Петербурге начала отпускать электрическую энергию в декабре 1983 года. Она разместилась на барже, причаленной к берегу реки Мойки. На барже были установлены 3 локомобиля и 12 динамомашин общей мощностью 35 кВт.</a:t>
            </a:r>
          </a:p>
          <a:p>
            <a:pPr algn="just"/>
            <a:r>
              <a:rPr lang="ru-RU" altLang="ru-RU"/>
              <a:t>      Системное внедрение электричества в России для бытовых и промышленных целей началось в 1886 году с учреждением временным петербургским купцом 1 гильдии Карлом Федоровичем Сименсом акционерного</a:t>
            </a:r>
          </a:p>
          <a:p>
            <a:pPr algn="just"/>
            <a:r>
              <a:rPr lang="ru-RU" altLang="ru-RU"/>
              <a:t>«Общества электрического освещения».</a:t>
            </a:r>
          </a:p>
          <a:p>
            <a:pPr algn="just"/>
            <a:r>
              <a:rPr lang="ru-RU" altLang="ru-RU"/>
              <a:t> </a:t>
            </a:r>
          </a:p>
        </p:txBody>
      </p:sp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ChangeArrowheads="1"/>
          </p:cNvSpPr>
          <p:nvPr/>
        </p:nvSpPr>
        <p:spPr bwMode="auto">
          <a:xfrm>
            <a:off x="230188" y="152400"/>
            <a:ext cx="8763000" cy="6477000"/>
          </a:xfrm>
          <a:prstGeom prst="rect">
            <a:avLst/>
          </a:prstGeom>
          <a:noFill/>
          <a:ln w="76200" cmpd="tri">
            <a:solidFill>
              <a:srgbClr val="D1D2BE"/>
            </a:solidFill>
            <a:miter lim="800000"/>
            <a:headEnd/>
            <a:tailEnd/>
          </a:ln>
          <a:effectLst>
            <a:prstShdw prst="shdw17" dist="17961" dir="2700000">
              <a:srgbClr val="7186D3"/>
            </a:prstShdw>
          </a:effectLst>
        </p:spPr>
        <p:txBody>
          <a:bodyPr wrap="none" anchor="ctr"/>
          <a:lstStyle/>
          <a:p>
            <a:endParaRPr lang="ru-RU" altLang="ru-RU"/>
          </a:p>
        </p:txBody>
      </p:sp>
      <p:sp useBgFill="1">
        <p:nvSpPr>
          <p:cNvPr id="12291" name="Rectangle 3"/>
          <p:cNvSpPr>
            <a:spLocks noChangeArrowheads="1"/>
          </p:cNvSpPr>
          <p:nvPr/>
        </p:nvSpPr>
        <p:spPr bwMode="auto">
          <a:xfrm>
            <a:off x="457200" y="304800"/>
            <a:ext cx="8305800" cy="6021388"/>
          </a:xfrm>
          <a:prstGeom prst="rect">
            <a:avLst/>
          </a:prstGeom>
          <a:ln w="76200" cmpd="tri">
            <a:solidFill>
              <a:srgbClr val="FFFFCC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altLang="ru-RU"/>
          </a:p>
        </p:txBody>
      </p:sp>
      <p:sp>
        <p:nvSpPr>
          <p:cNvPr id="9220" name="Rectangle 12"/>
          <p:cNvSpPr>
            <a:spLocks noChangeArrowheads="1"/>
          </p:cNvSpPr>
          <p:nvPr/>
        </p:nvSpPr>
        <p:spPr bwMode="auto">
          <a:xfrm>
            <a:off x="323850" y="188913"/>
            <a:ext cx="85693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bg2"/>
            </a:prstShdw>
          </a:effectLst>
        </p:spPr>
        <p:txBody>
          <a:bodyPr wrap="none" anchor="ctr"/>
          <a:lstStyle/>
          <a:p>
            <a:endParaRPr lang="ru-RU" altLang="ru-RU"/>
          </a:p>
        </p:txBody>
      </p:sp>
      <p:sp>
        <p:nvSpPr>
          <p:cNvPr id="280580" name="Rectangle 4"/>
          <p:cNvSpPr>
            <a:spLocks noChangeArrowheads="1"/>
          </p:cNvSpPr>
          <p:nvPr/>
        </p:nvSpPr>
        <p:spPr bwMode="auto">
          <a:xfrm>
            <a:off x="1820863" y="884238"/>
            <a:ext cx="6772275" cy="76835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/>
            <a:ext uri="{91240B29-F687-4F45-9708-019B960494DF}"/>
          </a:extLst>
        </p:spPr>
        <p:txBody>
          <a:bodyPr lIns="91433" tIns="45716" rIns="91433" bIns="45716"/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lnSpc>
                <a:spcPct val="50000"/>
              </a:lnSpc>
              <a:spcBef>
                <a:spcPct val="50000"/>
              </a:spcBef>
              <a:defRPr/>
            </a:pPr>
            <a:r>
              <a:rPr lang="ru-RU" altLang="ru-RU" sz="2800" i="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Times New Roman" panose="02020603050405020304" pitchFamily="18" charset="0"/>
              </a:rPr>
              <a:t>ПЕРВЫЕ ЭЛЕКТРОТЕХНИЧЕСКИЕ</a:t>
            </a:r>
          </a:p>
          <a:p>
            <a:pPr algn="ctr" eaLnBrk="1" hangingPunct="1">
              <a:lnSpc>
                <a:spcPct val="50000"/>
              </a:lnSpc>
              <a:spcBef>
                <a:spcPct val="50000"/>
              </a:spcBef>
              <a:defRPr/>
            </a:pPr>
            <a:r>
              <a:rPr lang="ru-RU" altLang="ru-RU" sz="2800" i="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Times New Roman" panose="02020603050405020304" pitchFamily="18" charset="0"/>
              </a:rPr>
              <a:t>ПРАВИЛА</a:t>
            </a:r>
          </a:p>
        </p:txBody>
      </p:sp>
      <p:pic>
        <p:nvPicPr>
          <p:cNvPr id="9222" name="Picture 1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3400" y="381000"/>
            <a:ext cx="1119188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3" name="TextBox 2"/>
          <p:cNvSpPr txBox="1">
            <a:spLocks noChangeArrowheads="1"/>
          </p:cNvSpPr>
          <p:nvPr/>
        </p:nvSpPr>
        <p:spPr bwMode="auto">
          <a:xfrm>
            <a:off x="755650" y="1844675"/>
            <a:ext cx="7837488" cy="418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altLang="ru-RU" dirty="0"/>
              <a:t>       </a:t>
            </a:r>
            <a:r>
              <a:rPr lang="ru-RU" altLang="ru-RU" sz="2200" dirty="0"/>
              <a:t>Первое практическое применение электричество нашло в телеграфе.</a:t>
            </a:r>
          </a:p>
          <a:p>
            <a:pPr algn="just"/>
            <a:r>
              <a:rPr lang="ru-RU" altLang="ru-RU" sz="2200" dirty="0"/>
              <a:t>      Однако использование электричества связано с риском получить удар током, если не соблюдать определенные меры предосторожности. Именно необходимость оградить население от такой опасности привела к появлению первого правового акта, изданного в России органом государственной власти, который касался использования электрической энергии.</a:t>
            </a:r>
          </a:p>
          <a:p>
            <a:pPr algn="just"/>
            <a:r>
              <a:rPr lang="ru-RU" altLang="ru-RU" sz="2200" dirty="0"/>
              <a:t>     </a:t>
            </a:r>
            <a:r>
              <a:rPr lang="ru-RU" altLang="ru-RU" sz="2200" dirty="0">
                <a:solidFill>
                  <a:srgbClr val="FF0000"/>
                </a:solidFill>
              </a:rPr>
              <a:t>Самые первые документы подготавливались не юристами, а специалистами в области технического регулирования.</a:t>
            </a:r>
          </a:p>
        </p:txBody>
      </p:sp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230188" y="152400"/>
            <a:ext cx="8763000" cy="6477000"/>
          </a:xfrm>
          <a:prstGeom prst="rect">
            <a:avLst/>
          </a:prstGeom>
          <a:noFill/>
          <a:ln w="76200" cmpd="tri">
            <a:solidFill>
              <a:srgbClr val="D1D2BE"/>
            </a:solidFill>
            <a:miter lim="800000"/>
            <a:headEnd/>
            <a:tailEnd/>
          </a:ln>
          <a:effectLst>
            <a:prstShdw prst="shdw17" dist="17961" dir="2700000">
              <a:srgbClr val="7186D3"/>
            </a:prstShdw>
          </a:effectLst>
        </p:spPr>
        <p:txBody>
          <a:bodyPr wrap="none" anchor="ctr"/>
          <a:lstStyle/>
          <a:p>
            <a:endParaRPr lang="ru-RU" altLang="ru-RU"/>
          </a:p>
        </p:txBody>
      </p:sp>
      <p:sp useBgFill="1">
        <p:nvSpPr>
          <p:cNvPr id="14339" name="Rectangle 3"/>
          <p:cNvSpPr>
            <a:spLocks noChangeArrowheads="1"/>
          </p:cNvSpPr>
          <p:nvPr/>
        </p:nvSpPr>
        <p:spPr bwMode="auto">
          <a:xfrm>
            <a:off x="457200" y="304800"/>
            <a:ext cx="8305800" cy="6021388"/>
          </a:xfrm>
          <a:prstGeom prst="rect">
            <a:avLst/>
          </a:prstGeom>
          <a:ln w="76200" cmpd="tri">
            <a:solidFill>
              <a:srgbClr val="FFFFCC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altLang="ru-RU"/>
          </a:p>
        </p:txBody>
      </p:sp>
      <p:sp>
        <p:nvSpPr>
          <p:cNvPr id="10244" name="Rectangle 12"/>
          <p:cNvSpPr>
            <a:spLocks noChangeArrowheads="1"/>
          </p:cNvSpPr>
          <p:nvPr/>
        </p:nvSpPr>
        <p:spPr bwMode="auto">
          <a:xfrm>
            <a:off x="323850" y="188913"/>
            <a:ext cx="85693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bg2"/>
            </a:prstShdw>
          </a:effectLst>
        </p:spPr>
        <p:txBody>
          <a:bodyPr wrap="none" anchor="ctr"/>
          <a:lstStyle/>
          <a:p>
            <a:endParaRPr lang="ru-RU" altLang="ru-RU"/>
          </a:p>
        </p:txBody>
      </p:sp>
      <p:sp>
        <p:nvSpPr>
          <p:cNvPr id="280580" name="Rectangle 4"/>
          <p:cNvSpPr>
            <a:spLocks noChangeArrowheads="1"/>
          </p:cNvSpPr>
          <p:nvPr/>
        </p:nvSpPr>
        <p:spPr bwMode="auto">
          <a:xfrm>
            <a:off x="1820863" y="884238"/>
            <a:ext cx="6772275" cy="76835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/>
            <a:ext uri="{91240B29-F687-4F45-9708-019B960494DF}"/>
          </a:extLst>
        </p:spPr>
        <p:txBody>
          <a:bodyPr lIns="91433" tIns="45716" rIns="91433" bIns="45716"/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lnSpc>
                <a:spcPct val="50000"/>
              </a:lnSpc>
              <a:spcBef>
                <a:spcPct val="50000"/>
              </a:spcBef>
              <a:defRPr/>
            </a:pPr>
            <a:r>
              <a:rPr lang="ru-RU" altLang="ru-RU" sz="2800" i="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Times New Roman" panose="02020603050405020304" pitchFamily="18" charset="0"/>
              </a:rPr>
              <a:t>ПЕРВЫЕ ЭЛЕКТРОТЕХНИЧЕСКИЕ</a:t>
            </a:r>
          </a:p>
          <a:p>
            <a:pPr algn="ctr" eaLnBrk="1" hangingPunct="1">
              <a:lnSpc>
                <a:spcPct val="50000"/>
              </a:lnSpc>
              <a:spcBef>
                <a:spcPct val="50000"/>
              </a:spcBef>
              <a:defRPr/>
            </a:pPr>
            <a:r>
              <a:rPr lang="ru-RU" altLang="ru-RU" sz="2800" i="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Times New Roman" panose="02020603050405020304" pitchFamily="18" charset="0"/>
              </a:rPr>
              <a:t>ПРАВИЛА</a:t>
            </a:r>
          </a:p>
        </p:txBody>
      </p:sp>
      <p:pic>
        <p:nvPicPr>
          <p:cNvPr id="10246" name="Picture 1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3400" y="381000"/>
            <a:ext cx="1119188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7" name="TextBox 2"/>
          <p:cNvSpPr txBox="1">
            <a:spLocks noChangeArrowheads="1"/>
          </p:cNvSpPr>
          <p:nvPr/>
        </p:nvSpPr>
        <p:spPr bwMode="auto">
          <a:xfrm>
            <a:off x="755650" y="1844675"/>
            <a:ext cx="7837488" cy="443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altLang="ru-RU" dirty="0"/>
              <a:t>       </a:t>
            </a:r>
            <a:r>
              <a:rPr lang="ru-RU" altLang="ru-RU" sz="2200" dirty="0"/>
              <a:t>12 августа 1885 года товарищ (т.е.заместитель) министра внутренних дел, впоследствии министр и председатель Комитета Министров, И.Н.Дурново подписал «</a:t>
            </a:r>
            <a:r>
              <a:rPr lang="ru-RU" altLang="ru-RU" sz="1800" i="0" dirty="0" err="1">
                <a:solidFill>
                  <a:srgbClr val="FF0000"/>
                </a:solidFill>
                <a:latin typeface="Arial Cyr" pitchFamily="34" charset="0"/>
                <a:cs typeface="Arial Cyr" pitchFamily="34" charset="0"/>
              </a:rPr>
              <a:t>Временныя</a:t>
            </a:r>
            <a:r>
              <a:rPr lang="ru-RU" altLang="ru-RU" sz="1800" i="0" dirty="0">
                <a:solidFill>
                  <a:srgbClr val="FF0000"/>
                </a:solidFill>
                <a:latin typeface="Arial Cyr" pitchFamily="34" charset="0"/>
                <a:cs typeface="Arial Cyr" pitchFamily="34" charset="0"/>
              </a:rPr>
              <a:t> правила </a:t>
            </a:r>
            <a:r>
              <a:rPr lang="ru-RU" altLang="ru-RU" sz="1800" i="0" dirty="0" err="1">
                <a:solidFill>
                  <a:srgbClr val="FF0000"/>
                </a:solidFill>
                <a:latin typeface="Arial Cyr" pitchFamily="34" charset="0"/>
                <a:cs typeface="Arial Cyr" pitchFamily="34" charset="0"/>
              </a:rPr>
              <a:t>канализац</a:t>
            </a:r>
            <a:r>
              <a:rPr lang="en-US" altLang="ru-RU" sz="1800" i="0" dirty="0" err="1">
                <a:solidFill>
                  <a:srgbClr val="FF0000"/>
                </a:solidFill>
                <a:latin typeface="Arial Cyr" pitchFamily="34" charset="0"/>
                <a:cs typeface="Arial Cyr" pitchFamily="34" charset="0"/>
              </a:rPr>
              <a:t>i</a:t>
            </a:r>
            <a:r>
              <a:rPr lang="ru-RU" altLang="ru-RU" sz="1800" i="0" dirty="0">
                <a:solidFill>
                  <a:srgbClr val="FF0000"/>
                </a:solidFill>
                <a:latin typeface="Arial Cyr" pitchFamily="34" charset="0"/>
                <a:cs typeface="Arial Cyr" pitchFamily="34" charset="0"/>
              </a:rPr>
              <a:t>и </a:t>
            </a:r>
            <a:r>
              <a:rPr lang="ru-RU" altLang="ru-RU" sz="1800" i="0" dirty="0" err="1">
                <a:solidFill>
                  <a:srgbClr val="FF0000"/>
                </a:solidFill>
                <a:latin typeface="Arial Cyr" pitchFamily="34" charset="0"/>
                <a:cs typeface="Arial Cyr" pitchFamily="34" charset="0"/>
              </a:rPr>
              <a:t>электрическаго</a:t>
            </a:r>
            <a:r>
              <a:rPr lang="ru-RU" altLang="ru-RU" sz="1800" i="0" dirty="0">
                <a:solidFill>
                  <a:srgbClr val="FF0000"/>
                </a:solidFill>
                <a:latin typeface="Arial Cyr" pitchFamily="34" charset="0"/>
                <a:cs typeface="Arial Cyr" pitchFamily="34" charset="0"/>
              </a:rPr>
              <a:t> тока большой силы и устройство проводов и </a:t>
            </a:r>
            <a:r>
              <a:rPr lang="ru-RU" altLang="ru-RU" sz="1800" i="0" dirty="0" err="1">
                <a:solidFill>
                  <a:srgbClr val="FF0000"/>
                </a:solidFill>
                <a:latin typeface="Arial Cyr" pitchFamily="34" charset="0"/>
                <a:cs typeface="Arial Cyr" pitchFamily="34" charset="0"/>
              </a:rPr>
              <a:t>прочихъ</a:t>
            </a:r>
            <a:r>
              <a:rPr lang="ru-RU" altLang="ru-RU" sz="1800" i="0" dirty="0">
                <a:solidFill>
                  <a:srgbClr val="FF0000"/>
                </a:solidFill>
                <a:latin typeface="Arial Cyr" pitchFamily="34" charset="0"/>
                <a:cs typeface="Arial Cyr" pitchFamily="34" charset="0"/>
              </a:rPr>
              <a:t> приспособлений для </a:t>
            </a:r>
            <a:r>
              <a:rPr lang="ru-RU" altLang="ru-RU" sz="1800" i="0" dirty="0" err="1">
                <a:solidFill>
                  <a:srgbClr val="FF0000"/>
                </a:solidFill>
                <a:latin typeface="Arial Cyr" pitchFamily="34" charset="0"/>
                <a:cs typeface="Arial Cyr" pitchFamily="34" charset="0"/>
              </a:rPr>
              <a:t>электрическаго</a:t>
            </a:r>
            <a:r>
              <a:rPr lang="ru-RU" altLang="ru-RU" sz="1800" i="0" dirty="0">
                <a:solidFill>
                  <a:srgbClr val="FF0000"/>
                </a:solidFill>
                <a:latin typeface="Arial Cyr" pitchFamily="34" charset="0"/>
                <a:cs typeface="Arial Cyr" pitchFamily="34" charset="0"/>
              </a:rPr>
              <a:t> </a:t>
            </a:r>
            <a:r>
              <a:rPr lang="ru-RU" altLang="ru-RU" sz="1800" i="0" dirty="0" err="1">
                <a:solidFill>
                  <a:srgbClr val="FF0000"/>
                </a:solidFill>
                <a:latin typeface="Arial Cyr" pitchFamily="34" charset="0"/>
                <a:cs typeface="Arial Cyr" pitchFamily="34" charset="0"/>
              </a:rPr>
              <a:t>освещҌн</a:t>
            </a:r>
            <a:r>
              <a:rPr lang="en-US" altLang="ru-RU" sz="1800" i="0" dirty="0" err="1">
                <a:solidFill>
                  <a:srgbClr val="FF0000"/>
                </a:solidFill>
                <a:latin typeface="Arial Cyr" pitchFamily="34" charset="0"/>
                <a:cs typeface="Arial Cyr" pitchFamily="34" charset="0"/>
              </a:rPr>
              <a:t>i</a:t>
            </a:r>
            <a:r>
              <a:rPr lang="ru-RU" altLang="ru-RU" sz="1800" i="0" dirty="0">
                <a:solidFill>
                  <a:srgbClr val="FF0000"/>
                </a:solidFill>
                <a:latin typeface="Arial Cyr" pitchFamily="34" charset="0"/>
                <a:cs typeface="Arial Cyr" pitchFamily="34" charset="0"/>
              </a:rPr>
              <a:t>я</a:t>
            </a:r>
            <a:r>
              <a:rPr lang="ru-RU" altLang="ru-RU" sz="2200" dirty="0"/>
              <a:t>»</a:t>
            </a:r>
          </a:p>
          <a:p>
            <a:pPr algn="just"/>
            <a:r>
              <a:rPr lang="ru-RU" altLang="ru-RU" sz="2200" i="0" dirty="0">
                <a:latin typeface="Arial Cyr" pitchFamily="34" charset="0"/>
                <a:cs typeface="Arial Cyr" pitchFamily="34" charset="0"/>
              </a:rPr>
              <a:t>        </a:t>
            </a:r>
            <a:r>
              <a:rPr lang="ru-RU" altLang="ru-RU" sz="1800" dirty="0"/>
              <a:t>Правилами устанавливались требования к безопасному устройству помещений с </a:t>
            </a:r>
            <a:r>
              <a:rPr lang="ru-RU" altLang="ru-RU" sz="1800" dirty="0" err="1"/>
              <a:t>электрогенераторными</a:t>
            </a:r>
            <a:r>
              <a:rPr lang="ru-RU" altLang="ru-RU" sz="1800" dirty="0"/>
              <a:t> установками, надежной изоляции электрических проводов, обязательность надзора за ними во время работы, обязательность предпринимателей снабжать потребителей </a:t>
            </a:r>
            <a:r>
              <a:rPr lang="ru-RU" altLang="ru-RU" sz="1800" dirty="0" err="1"/>
              <a:t>отпечатенными</a:t>
            </a:r>
            <a:r>
              <a:rPr lang="ru-RU" altLang="ru-RU" sz="1800" dirty="0"/>
              <a:t> правилами обращения с аппаратами и проводами, а также нормами пересечения и соприкосновения линий электропередачи с линиями телеграфа и телефона.</a:t>
            </a:r>
          </a:p>
          <a:p>
            <a:pPr algn="just"/>
            <a:r>
              <a:rPr lang="ru-RU" altLang="ru-RU" sz="2200" dirty="0"/>
              <a:t>     </a:t>
            </a:r>
            <a:endParaRPr lang="ru-RU" altLang="ru-RU" sz="22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ChangeArrowheads="1"/>
          </p:cNvSpPr>
          <p:nvPr/>
        </p:nvSpPr>
        <p:spPr bwMode="auto">
          <a:xfrm>
            <a:off x="230188" y="152400"/>
            <a:ext cx="8763000" cy="6477000"/>
          </a:xfrm>
          <a:prstGeom prst="rect">
            <a:avLst/>
          </a:prstGeom>
          <a:noFill/>
          <a:ln w="76200" cmpd="tri">
            <a:solidFill>
              <a:srgbClr val="D1D2BE"/>
            </a:solidFill>
            <a:miter lim="800000"/>
            <a:headEnd/>
            <a:tailEnd/>
          </a:ln>
          <a:effectLst>
            <a:prstShdw prst="shdw17" dist="17961" dir="2700000">
              <a:srgbClr val="7186D3"/>
            </a:prstShdw>
          </a:effectLst>
        </p:spPr>
        <p:txBody>
          <a:bodyPr wrap="none" anchor="ctr"/>
          <a:lstStyle/>
          <a:p>
            <a:endParaRPr lang="ru-RU" altLang="ru-RU"/>
          </a:p>
        </p:txBody>
      </p:sp>
      <p:sp useBgFill="1">
        <p:nvSpPr>
          <p:cNvPr id="9219" name="Rectangle 3"/>
          <p:cNvSpPr>
            <a:spLocks noChangeArrowheads="1"/>
          </p:cNvSpPr>
          <p:nvPr/>
        </p:nvSpPr>
        <p:spPr bwMode="auto">
          <a:xfrm>
            <a:off x="457200" y="304800"/>
            <a:ext cx="8305800" cy="6021388"/>
          </a:xfrm>
          <a:prstGeom prst="rect">
            <a:avLst/>
          </a:prstGeom>
          <a:ln w="76200" cmpd="tri">
            <a:solidFill>
              <a:srgbClr val="FFFFCC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3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7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just">
              <a:defRPr/>
            </a:pPr>
            <a:endParaRPr lang="ru-RU" altLang="ru-RU" sz="2000" dirty="0" smtClean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1268" name="Rectangle 12"/>
          <p:cNvSpPr>
            <a:spLocks noChangeArrowheads="1"/>
          </p:cNvSpPr>
          <p:nvPr/>
        </p:nvSpPr>
        <p:spPr bwMode="auto">
          <a:xfrm>
            <a:off x="323850" y="188913"/>
            <a:ext cx="85693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bg2"/>
            </a:prstShdw>
          </a:effectLst>
        </p:spPr>
        <p:txBody>
          <a:bodyPr wrap="none" anchor="ctr"/>
          <a:lstStyle/>
          <a:p>
            <a:endParaRPr lang="ru-RU" altLang="ru-RU"/>
          </a:p>
        </p:txBody>
      </p:sp>
      <p:sp>
        <p:nvSpPr>
          <p:cNvPr id="280580" name="Rectangle 4"/>
          <p:cNvSpPr>
            <a:spLocks noChangeArrowheads="1"/>
          </p:cNvSpPr>
          <p:nvPr/>
        </p:nvSpPr>
        <p:spPr bwMode="auto">
          <a:xfrm>
            <a:off x="1820863" y="884238"/>
            <a:ext cx="6772275" cy="76835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/>
            <a:ext uri="{91240B29-F687-4F45-9708-019B960494DF}"/>
          </a:extLst>
        </p:spPr>
        <p:txBody>
          <a:bodyPr lIns="91433" tIns="45716" rIns="91433" bIns="45716"/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lnSpc>
                <a:spcPct val="50000"/>
              </a:lnSpc>
              <a:spcBef>
                <a:spcPct val="50000"/>
              </a:spcBef>
              <a:defRPr/>
            </a:pPr>
            <a:r>
              <a:rPr lang="ru-RU" altLang="ru-RU" sz="2800" i="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Times New Roman" panose="02020603050405020304" pitchFamily="18" charset="0"/>
              </a:rPr>
              <a:t>ПЕРВЫЕ ЭЛЕКТРОТЕХНИЧЕСКИЕ</a:t>
            </a:r>
          </a:p>
          <a:p>
            <a:pPr algn="ctr" eaLnBrk="1" hangingPunct="1">
              <a:lnSpc>
                <a:spcPct val="50000"/>
              </a:lnSpc>
              <a:spcBef>
                <a:spcPct val="50000"/>
              </a:spcBef>
              <a:defRPr/>
            </a:pPr>
            <a:r>
              <a:rPr lang="ru-RU" altLang="ru-RU" sz="2800" i="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Times New Roman" panose="02020603050405020304" pitchFamily="18" charset="0"/>
              </a:rPr>
              <a:t>ПРАВИЛА</a:t>
            </a:r>
          </a:p>
        </p:txBody>
      </p:sp>
      <p:pic>
        <p:nvPicPr>
          <p:cNvPr id="11270" name="Picture 1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3400" y="381000"/>
            <a:ext cx="1119188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3" name="TextBox 2"/>
          <p:cNvSpPr txBox="1">
            <a:spLocks noChangeArrowheads="1"/>
          </p:cNvSpPr>
          <p:nvPr/>
        </p:nvSpPr>
        <p:spPr bwMode="auto">
          <a:xfrm>
            <a:off x="755650" y="1844675"/>
            <a:ext cx="7837488" cy="4094163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lvl1pPr>
              <a:defRPr sz="2400" b="1" i="1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 b="1" i="1">
                <a:solidFill>
                  <a:srgbClr val="000000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 b="1" i="1">
                <a:solidFill>
                  <a:srgbClr val="000000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 b="1" i="1">
                <a:solidFill>
                  <a:srgbClr val="000000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 b="1" i="1">
                <a:solidFill>
                  <a:srgbClr val="000000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 i="1">
                <a:solidFill>
                  <a:srgbClr val="000000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 i="1">
                <a:solidFill>
                  <a:srgbClr val="000000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 i="1">
                <a:solidFill>
                  <a:srgbClr val="000000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 i="1">
                <a:solidFill>
                  <a:srgbClr val="000000"/>
                </a:solidFill>
                <a:latin typeface="Times New Roman" panose="02020603050405020304" pitchFamily="18" charset="0"/>
              </a:defRPr>
            </a:lvl9pPr>
          </a:lstStyle>
          <a:p>
            <a:pPr algn="just">
              <a:defRPr/>
            </a:pPr>
            <a:r>
              <a:rPr lang="ru-RU" sz="2000" dirty="0" smtClean="0">
                <a:latin typeface="Times New Roman"/>
              </a:rPr>
              <a:t>      Временные правила 1885 года были первым опытом технического регулирования электрических устройств и поэтому не могли охватить всех аспектов безопасного обращения с ними.</a:t>
            </a:r>
          </a:p>
          <a:p>
            <a:pPr algn="just">
              <a:defRPr/>
            </a:pPr>
            <a:r>
              <a:rPr lang="ru-RU" sz="2000" dirty="0" smtClean="0">
                <a:latin typeface="Times New Roman"/>
              </a:rPr>
              <a:t>Электротехнический отдел ИРТО продолжал работу по совершенствованию правил электротехнической безопасности, и </a:t>
            </a:r>
            <a:r>
              <a:rPr lang="ru-RU" sz="2000" dirty="0" smtClean="0">
                <a:solidFill>
                  <a:srgbClr val="FF0000"/>
                </a:solidFill>
                <a:latin typeface="Times New Roman"/>
              </a:rPr>
              <a:t>2 января 1891 года </a:t>
            </a:r>
            <a:r>
              <a:rPr lang="ru-RU" sz="2000" dirty="0" smtClean="0">
                <a:latin typeface="Times New Roman"/>
              </a:rPr>
              <a:t>Совет ИРТО утвердил выработанные отделом </a:t>
            </a:r>
          </a:p>
          <a:p>
            <a:pPr algn="ctr">
              <a:defRPr/>
            </a:pPr>
            <a:r>
              <a:rPr lang="ru-RU" altLang="ru-RU" sz="2000" dirty="0" smtClean="0">
                <a:solidFill>
                  <a:srgbClr val="FF0000"/>
                </a:solidFill>
                <a:latin typeface="Times New Roman"/>
              </a:rPr>
              <a:t>«</a:t>
            </a:r>
            <a:r>
              <a:rPr lang="ru-RU" altLang="ru-RU" sz="2000" i="0" cap="all" dirty="0" err="1" smtClean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Временыя</a:t>
            </a:r>
            <a:r>
              <a:rPr lang="ru-RU" altLang="ru-RU" sz="2000" i="0" cap="all" dirty="0" smtClean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 Правила</a:t>
            </a:r>
          </a:p>
          <a:p>
            <a:pPr algn="ctr">
              <a:defRPr/>
            </a:pPr>
            <a:r>
              <a:rPr lang="ru-RU" altLang="ru-RU" sz="2000" i="0" dirty="0" smtClean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Относительно </a:t>
            </a:r>
            <a:r>
              <a:rPr lang="ru-RU" altLang="ru-RU" sz="2000" i="0" dirty="0" err="1" smtClean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м</a:t>
            </a:r>
            <a:r>
              <a:rPr lang="ru-RU" altLang="ru-RU" sz="1600" i="0" dirty="0" err="1" smtClean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Ҍ</a:t>
            </a:r>
            <a:r>
              <a:rPr lang="ru-RU" altLang="ru-RU" sz="2000" i="0" dirty="0" err="1" smtClean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ръ</a:t>
            </a:r>
            <a:r>
              <a:rPr lang="ru-RU" altLang="ru-RU" sz="2000" i="0" dirty="0" smtClean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 предосторожности при </a:t>
            </a:r>
            <a:r>
              <a:rPr lang="ru-RU" altLang="ru-RU" sz="2000" i="0" dirty="0" err="1" smtClean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устройств</a:t>
            </a:r>
            <a:r>
              <a:rPr lang="ru-RU" altLang="ru-RU" sz="1600" i="0" dirty="0" err="1" smtClean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Ѣ</a:t>
            </a:r>
            <a:r>
              <a:rPr lang="ru-RU" altLang="ru-RU" sz="2000" i="0" dirty="0" smtClean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 и пользовании </a:t>
            </a:r>
            <a:r>
              <a:rPr lang="ru-RU" altLang="ru-RU" sz="2000" i="0" dirty="0" err="1" smtClean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электрическимъ</a:t>
            </a:r>
            <a:r>
              <a:rPr lang="ru-RU" altLang="ru-RU" sz="2000" i="0" dirty="0" smtClean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 </a:t>
            </a:r>
            <a:r>
              <a:rPr lang="ru-RU" altLang="ru-RU" sz="2000" i="0" dirty="0" err="1" smtClean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осв</a:t>
            </a:r>
            <a:r>
              <a:rPr lang="ru-RU" altLang="ru-RU" sz="1600" i="0" dirty="0" err="1" smtClean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Ҍ</a:t>
            </a:r>
            <a:r>
              <a:rPr lang="ru-RU" altLang="ru-RU" sz="2000" i="0" dirty="0" err="1" smtClean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щениемъ</a:t>
            </a:r>
            <a:r>
              <a:rPr lang="ru-RU" altLang="ru-RU" sz="2000" dirty="0" smtClean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»</a:t>
            </a:r>
          </a:p>
          <a:p>
            <a:pPr algn="just">
              <a:defRPr/>
            </a:pPr>
            <a:r>
              <a:rPr lang="ru-RU" altLang="ru-RU" sz="2000" dirty="0" smtClean="0">
                <a:latin typeface="Times New Roman"/>
              </a:rPr>
              <a:t>                                                            Правила выработаны </a:t>
            </a:r>
            <a:r>
              <a:rPr lang="ru-RU" altLang="ru-RU" sz="2000" dirty="0" err="1" smtClean="0">
                <a:latin typeface="Times New Roman"/>
              </a:rPr>
              <a:t>Комисс</a:t>
            </a:r>
            <a:r>
              <a:rPr lang="en-US" altLang="ru-RU" sz="2000" dirty="0" err="1" smtClean="0">
                <a:latin typeface="Times New Roman"/>
              </a:rPr>
              <a:t>i</a:t>
            </a:r>
            <a:r>
              <a:rPr lang="ru-RU" altLang="ru-RU" sz="2000" dirty="0" smtClean="0">
                <a:latin typeface="Times New Roman"/>
              </a:rPr>
              <a:t>ею,</a:t>
            </a:r>
          </a:p>
          <a:p>
            <a:pPr algn="r">
              <a:defRPr/>
            </a:pPr>
            <a:r>
              <a:rPr lang="ru-RU" altLang="ru-RU" sz="2000" dirty="0" smtClean="0">
                <a:latin typeface="Times New Roman"/>
              </a:rPr>
              <a:t>                    избранною </a:t>
            </a:r>
            <a:r>
              <a:rPr lang="en-US" altLang="ru-RU" sz="2000" dirty="0" smtClean="0">
                <a:latin typeface="Times New Roman"/>
              </a:rPr>
              <a:t>VI</a:t>
            </a:r>
            <a:r>
              <a:rPr lang="ru-RU" altLang="ru-RU" sz="2000" dirty="0" smtClean="0">
                <a:latin typeface="Times New Roman"/>
              </a:rPr>
              <a:t> </a:t>
            </a:r>
            <a:r>
              <a:rPr lang="ru-RU" altLang="ru-RU" sz="2000" dirty="0" err="1" smtClean="0">
                <a:latin typeface="Times New Roman"/>
              </a:rPr>
              <a:t>Отд</a:t>
            </a:r>
            <a:r>
              <a:rPr lang="ru-RU" altLang="ru-RU" sz="1800" dirty="0" err="1" smtClean="0">
                <a:latin typeface="Times New Roman"/>
              </a:rPr>
              <a:t>Ѣ</a:t>
            </a:r>
            <a:r>
              <a:rPr lang="ru-RU" altLang="ru-RU" sz="2000" dirty="0" err="1" smtClean="0">
                <a:latin typeface="Times New Roman"/>
              </a:rPr>
              <a:t>ломъ</a:t>
            </a:r>
            <a:r>
              <a:rPr lang="ru-RU" altLang="ru-RU" sz="2000" dirty="0" smtClean="0">
                <a:latin typeface="Times New Roman"/>
              </a:rPr>
              <a:t> </a:t>
            </a:r>
            <a:r>
              <a:rPr lang="ru-RU" altLang="ru-RU" sz="2000" dirty="0" err="1" smtClean="0">
                <a:latin typeface="Times New Roman"/>
              </a:rPr>
              <a:t>Императорскаго</a:t>
            </a:r>
            <a:r>
              <a:rPr lang="ru-RU" altLang="ru-RU" sz="2000" dirty="0" smtClean="0">
                <a:latin typeface="Times New Roman"/>
              </a:rPr>
              <a:t> </a:t>
            </a:r>
            <a:r>
              <a:rPr lang="ru-RU" altLang="ru-RU" sz="2000" dirty="0" err="1" smtClean="0">
                <a:latin typeface="Times New Roman"/>
              </a:rPr>
              <a:t>Русскаго</a:t>
            </a:r>
            <a:r>
              <a:rPr lang="ru-RU" altLang="ru-RU" sz="2000" dirty="0" smtClean="0">
                <a:latin typeface="Times New Roman"/>
              </a:rPr>
              <a:t> </a:t>
            </a:r>
            <a:r>
              <a:rPr lang="ru-RU" altLang="ru-RU" sz="2000" dirty="0" err="1" smtClean="0">
                <a:latin typeface="Times New Roman"/>
              </a:rPr>
              <a:t>Техническаго</a:t>
            </a:r>
            <a:r>
              <a:rPr lang="ru-RU" altLang="ru-RU" sz="2000" dirty="0" smtClean="0">
                <a:latin typeface="Times New Roman"/>
              </a:rPr>
              <a:t> Общества и утверждены </a:t>
            </a:r>
          </a:p>
          <a:p>
            <a:pPr algn="r">
              <a:defRPr/>
            </a:pPr>
            <a:r>
              <a:rPr lang="en-US" altLang="ru-RU" sz="2000" dirty="0" smtClean="0">
                <a:latin typeface="Times New Roman"/>
              </a:rPr>
              <a:t>VI </a:t>
            </a:r>
            <a:r>
              <a:rPr lang="ru-RU" altLang="ru-RU" sz="2000" dirty="0" err="1" smtClean="0">
                <a:latin typeface="Times New Roman"/>
              </a:rPr>
              <a:t>Отд</a:t>
            </a:r>
            <a:r>
              <a:rPr lang="ru-RU" altLang="ru-RU" sz="1600" dirty="0" err="1" smtClean="0">
                <a:latin typeface="Times New Roman"/>
              </a:rPr>
              <a:t>Ѣ</a:t>
            </a:r>
            <a:r>
              <a:rPr lang="ru-RU" altLang="ru-RU" sz="2000" dirty="0" err="1" smtClean="0">
                <a:latin typeface="Times New Roman"/>
              </a:rPr>
              <a:t>ломъ</a:t>
            </a:r>
            <a:r>
              <a:rPr lang="ru-RU" altLang="ru-RU" sz="2000" dirty="0" smtClean="0">
                <a:latin typeface="Times New Roman"/>
              </a:rPr>
              <a:t> и </a:t>
            </a:r>
            <a:r>
              <a:rPr lang="ru-RU" altLang="ru-RU" sz="2000" dirty="0" err="1" smtClean="0">
                <a:latin typeface="Times New Roman"/>
              </a:rPr>
              <a:t>Сов</a:t>
            </a:r>
            <a:r>
              <a:rPr lang="ru-RU" altLang="ru-RU" sz="1600" dirty="0" err="1" smtClean="0">
                <a:latin typeface="Times New Roman"/>
              </a:rPr>
              <a:t>Ѣ</a:t>
            </a:r>
            <a:r>
              <a:rPr lang="ru-RU" altLang="ru-RU" sz="2000" dirty="0" err="1" smtClean="0">
                <a:latin typeface="Times New Roman"/>
              </a:rPr>
              <a:t>томъ</a:t>
            </a:r>
            <a:r>
              <a:rPr lang="ru-RU" altLang="ru-RU" sz="2000" dirty="0" smtClean="0">
                <a:latin typeface="Times New Roman"/>
              </a:rPr>
              <a:t> Общества, 2 Января 1891 года</a:t>
            </a:r>
            <a:endParaRPr lang="ru-RU" altLang="ru-RU" sz="2000" dirty="0">
              <a:latin typeface="Times New Roman"/>
            </a:endParaRPr>
          </a:p>
        </p:txBody>
      </p:sp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ChangeArrowheads="1"/>
          </p:cNvSpPr>
          <p:nvPr/>
        </p:nvSpPr>
        <p:spPr bwMode="auto">
          <a:xfrm>
            <a:off x="230188" y="152400"/>
            <a:ext cx="8763000" cy="6477000"/>
          </a:xfrm>
          <a:prstGeom prst="rect">
            <a:avLst/>
          </a:prstGeom>
          <a:noFill/>
          <a:ln w="76200" cmpd="tri">
            <a:solidFill>
              <a:srgbClr val="D1D2BE"/>
            </a:solidFill>
            <a:miter lim="800000"/>
            <a:headEnd/>
            <a:tailEnd/>
          </a:ln>
          <a:effectLst>
            <a:prstShdw prst="shdw17" dist="17961" dir="2700000">
              <a:srgbClr val="7186D3"/>
            </a:prstShdw>
          </a:effectLst>
        </p:spPr>
        <p:txBody>
          <a:bodyPr wrap="none" anchor="ctr"/>
          <a:lstStyle/>
          <a:p>
            <a:endParaRPr lang="ru-RU" altLang="ru-RU"/>
          </a:p>
        </p:txBody>
      </p:sp>
      <p:sp useBgFill="1">
        <p:nvSpPr>
          <p:cNvPr id="18435" name="Rectangle 3"/>
          <p:cNvSpPr>
            <a:spLocks noChangeArrowheads="1"/>
          </p:cNvSpPr>
          <p:nvPr/>
        </p:nvSpPr>
        <p:spPr bwMode="auto">
          <a:xfrm>
            <a:off x="457200" y="304800"/>
            <a:ext cx="8305800" cy="6021388"/>
          </a:xfrm>
          <a:prstGeom prst="rect">
            <a:avLst/>
          </a:prstGeom>
          <a:ln w="76200" cmpd="tri">
            <a:solidFill>
              <a:srgbClr val="FFFFCC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/>
          <a:p>
            <a:pPr algn="just">
              <a:spcBef>
                <a:spcPct val="20000"/>
              </a:spcBef>
              <a:buFontTx/>
              <a:buChar char="•"/>
              <a:defRPr/>
            </a:pPr>
            <a:endParaRPr lang="ru-RU" altLang="ru-RU" sz="2000"/>
          </a:p>
        </p:txBody>
      </p:sp>
      <p:sp>
        <p:nvSpPr>
          <p:cNvPr id="12292" name="Rectangle 12"/>
          <p:cNvSpPr>
            <a:spLocks noChangeArrowheads="1"/>
          </p:cNvSpPr>
          <p:nvPr/>
        </p:nvSpPr>
        <p:spPr bwMode="auto">
          <a:xfrm>
            <a:off x="323850" y="188913"/>
            <a:ext cx="85693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bg2"/>
            </a:prstShdw>
          </a:effectLst>
        </p:spPr>
        <p:txBody>
          <a:bodyPr wrap="none" anchor="ctr"/>
          <a:lstStyle/>
          <a:p>
            <a:endParaRPr lang="ru-RU" altLang="ru-RU"/>
          </a:p>
        </p:txBody>
      </p:sp>
      <p:sp>
        <p:nvSpPr>
          <p:cNvPr id="280580" name="Rectangle 4"/>
          <p:cNvSpPr>
            <a:spLocks noChangeArrowheads="1"/>
          </p:cNvSpPr>
          <p:nvPr/>
        </p:nvSpPr>
        <p:spPr bwMode="auto">
          <a:xfrm>
            <a:off x="1820863" y="549275"/>
            <a:ext cx="6772275" cy="1103313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/>
            <a:ext uri="{91240B29-F687-4F45-9708-019B960494DF}"/>
          </a:extLst>
        </p:spPr>
        <p:txBody>
          <a:bodyPr lIns="91433" tIns="45716" rIns="91433" bIns="45716"/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defRPr/>
            </a:pPr>
            <a:r>
              <a:rPr lang="ru-RU" altLang="ru-RU" sz="1800" dirty="0">
                <a:latin typeface="Times New Roman"/>
              </a:rPr>
              <a:t>«</a:t>
            </a:r>
            <a:r>
              <a:rPr lang="ru-RU" altLang="ru-RU" sz="1800" i="0" cap="all" dirty="0" err="1">
                <a:latin typeface="Arial Cyr" panose="020B0604020202020204" pitchFamily="34" charset="0"/>
                <a:cs typeface="Arial Cyr" panose="020B0604020202020204" pitchFamily="34" charset="0"/>
              </a:rPr>
              <a:t>Временыя</a:t>
            </a:r>
            <a:r>
              <a:rPr lang="ru-RU" altLang="ru-RU" sz="1800" i="0" cap="all" dirty="0">
                <a:latin typeface="Arial Cyr" panose="020B0604020202020204" pitchFamily="34" charset="0"/>
                <a:cs typeface="Arial Cyr" panose="020B0604020202020204" pitchFamily="34" charset="0"/>
              </a:rPr>
              <a:t> Правила</a:t>
            </a:r>
          </a:p>
          <a:p>
            <a:pPr algn="ctr">
              <a:defRPr/>
            </a:pPr>
            <a:r>
              <a:rPr lang="ru-RU" altLang="ru-RU" sz="1800" i="0" dirty="0">
                <a:latin typeface="Arial Cyr" panose="020B0604020202020204" pitchFamily="34" charset="0"/>
                <a:cs typeface="Arial Cyr" panose="020B0604020202020204" pitchFamily="34" charset="0"/>
              </a:rPr>
              <a:t>Относительно </a:t>
            </a:r>
            <a:r>
              <a:rPr lang="ru-RU" altLang="ru-RU" sz="1800" i="0" dirty="0" err="1">
                <a:latin typeface="Arial Cyr" panose="020B0604020202020204" pitchFamily="34" charset="0"/>
                <a:cs typeface="Arial Cyr" panose="020B0604020202020204" pitchFamily="34" charset="0"/>
              </a:rPr>
              <a:t>мҌръ</a:t>
            </a:r>
            <a:r>
              <a:rPr lang="ru-RU" altLang="ru-RU" sz="1800" i="0" dirty="0">
                <a:latin typeface="Arial Cyr" panose="020B0604020202020204" pitchFamily="34" charset="0"/>
                <a:cs typeface="Arial Cyr" panose="020B0604020202020204" pitchFamily="34" charset="0"/>
              </a:rPr>
              <a:t> предосторожности при </a:t>
            </a:r>
            <a:r>
              <a:rPr lang="ru-RU" altLang="ru-RU" sz="1800" i="0" dirty="0" err="1">
                <a:latin typeface="Arial Cyr" panose="020B0604020202020204" pitchFamily="34" charset="0"/>
                <a:cs typeface="Arial Cyr" panose="020B0604020202020204" pitchFamily="34" charset="0"/>
              </a:rPr>
              <a:t>устройствѢ</a:t>
            </a:r>
            <a:r>
              <a:rPr lang="ru-RU" altLang="ru-RU" sz="1800" i="0" dirty="0">
                <a:latin typeface="Arial Cyr" panose="020B0604020202020204" pitchFamily="34" charset="0"/>
                <a:cs typeface="Arial Cyr" panose="020B0604020202020204" pitchFamily="34" charset="0"/>
              </a:rPr>
              <a:t> и пользовании </a:t>
            </a:r>
            <a:r>
              <a:rPr lang="ru-RU" altLang="ru-RU" sz="1800" i="0" dirty="0" err="1">
                <a:latin typeface="Arial Cyr" panose="020B0604020202020204" pitchFamily="34" charset="0"/>
                <a:cs typeface="Arial Cyr" panose="020B0604020202020204" pitchFamily="34" charset="0"/>
              </a:rPr>
              <a:t>электрическимъ</a:t>
            </a:r>
            <a:r>
              <a:rPr lang="ru-RU" altLang="ru-RU" sz="1800" i="0" dirty="0">
                <a:latin typeface="Arial Cyr" panose="020B0604020202020204" pitchFamily="34" charset="0"/>
                <a:cs typeface="Arial Cyr" panose="020B0604020202020204" pitchFamily="34" charset="0"/>
              </a:rPr>
              <a:t> </a:t>
            </a:r>
            <a:r>
              <a:rPr lang="ru-RU" altLang="ru-RU" sz="1800" i="0" dirty="0" err="1">
                <a:latin typeface="Arial Cyr" panose="020B0604020202020204" pitchFamily="34" charset="0"/>
                <a:cs typeface="Arial Cyr" panose="020B0604020202020204" pitchFamily="34" charset="0"/>
              </a:rPr>
              <a:t>освҌщениемъ</a:t>
            </a:r>
            <a:r>
              <a:rPr lang="ru-RU" altLang="ru-RU" sz="1800" dirty="0">
                <a:latin typeface="Arial Cyr" panose="020B0604020202020204" pitchFamily="34" charset="0"/>
                <a:cs typeface="Arial Cyr" panose="020B0604020202020204" pitchFamily="34" charset="0"/>
              </a:rPr>
              <a:t>»</a:t>
            </a:r>
          </a:p>
        </p:txBody>
      </p:sp>
      <p:pic>
        <p:nvPicPr>
          <p:cNvPr id="12294" name="Picture 1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3400" y="381000"/>
            <a:ext cx="1119188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5" name="Рисунок 3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5650" y="1752600"/>
            <a:ext cx="7837488" cy="293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6" name="Рисунок 4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8825" y="4940300"/>
            <a:ext cx="7834313" cy="115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ChangeArrowheads="1"/>
          </p:cNvSpPr>
          <p:nvPr/>
        </p:nvSpPr>
        <p:spPr bwMode="auto">
          <a:xfrm>
            <a:off x="230188" y="152400"/>
            <a:ext cx="8763000" cy="6477000"/>
          </a:xfrm>
          <a:prstGeom prst="rect">
            <a:avLst/>
          </a:prstGeom>
          <a:noFill/>
          <a:ln w="76200" cmpd="tri">
            <a:solidFill>
              <a:srgbClr val="D1D2BE"/>
            </a:solidFill>
            <a:miter lim="800000"/>
            <a:headEnd/>
            <a:tailEnd/>
          </a:ln>
          <a:effectLst>
            <a:prstShdw prst="shdw17" dist="17961" dir="2700000">
              <a:srgbClr val="7186D3"/>
            </a:prstShdw>
          </a:effectLst>
        </p:spPr>
        <p:txBody>
          <a:bodyPr wrap="none" anchor="ctr"/>
          <a:lstStyle/>
          <a:p>
            <a:endParaRPr lang="ru-RU" altLang="ru-RU"/>
          </a:p>
        </p:txBody>
      </p:sp>
      <p:sp useBgFill="1">
        <p:nvSpPr>
          <p:cNvPr id="20483" name="Rectangle 3"/>
          <p:cNvSpPr>
            <a:spLocks noChangeArrowheads="1"/>
          </p:cNvSpPr>
          <p:nvPr/>
        </p:nvSpPr>
        <p:spPr bwMode="auto">
          <a:xfrm>
            <a:off x="457200" y="304800"/>
            <a:ext cx="8305800" cy="6021388"/>
          </a:xfrm>
          <a:prstGeom prst="rect">
            <a:avLst/>
          </a:prstGeom>
          <a:ln w="76200" cmpd="tri">
            <a:solidFill>
              <a:srgbClr val="FFFFCC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/>
          <a:p>
            <a:pPr algn="just">
              <a:spcBef>
                <a:spcPct val="20000"/>
              </a:spcBef>
              <a:buFontTx/>
              <a:buChar char="•"/>
              <a:defRPr/>
            </a:pPr>
            <a:endParaRPr lang="ru-RU" altLang="ru-RU" sz="2000"/>
          </a:p>
        </p:txBody>
      </p:sp>
      <p:sp>
        <p:nvSpPr>
          <p:cNvPr id="13316" name="Rectangle 12"/>
          <p:cNvSpPr>
            <a:spLocks noChangeArrowheads="1"/>
          </p:cNvSpPr>
          <p:nvPr/>
        </p:nvSpPr>
        <p:spPr bwMode="auto">
          <a:xfrm>
            <a:off x="323850" y="188913"/>
            <a:ext cx="85693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bg2"/>
            </a:prstShdw>
          </a:effectLst>
        </p:spPr>
        <p:txBody>
          <a:bodyPr wrap="none" anchor="ctr"/>
          <a:lstStyle/>
          <a:p>
            <a:endParaRPr lang="ru-RU" altLang="ru-RU"/>
          </a:p>
        </p:txBody>
      </p:sp>
      <p:sp>
        <p:nvSpPr>
          <p:cNvPr id="280580" name="Rectangle 4"/>
          <p:cNvSpPr>
            <a:spLocks noChangeArrowheads="1"/>
          </p:cNvSpPr>
          <p:nvPr/>
        </p:nvSpPr>
        <p:spPr bwMode="auto">
          <a:xfrm>
            <a:off x="1820863" y="549275"/>
            <a:ext cx="6772275" cy="1103313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/>
            <a:ext uri="{91240B29-F687-4F45-9708-019B960494DF}"/>
          </a:extLst>
        </p:spPr>
        <p:txBody>
          <a:bodyPr lIns="91433" tIns="45716" rIns="91433" bIns="45716"/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defRPr/>
            </a:pPr>
            <a:r>
              <a:rPr lang="ru-RU" altLang="ru-RU" sz="1800" dirty="0">
                <a:solidFill>
                  <a:srgbClr val="FF0000"/>
                </a:solidFill>
                <a:latin typeface="Times New Roman"/>
              </a:rPr>
              <a:t>«</a:t>
            </a:r>
            <a:r>
              <a:rPr lang="ru-RU" altLang="ru-RU" sz="1800" i="0" cap="all" dirty="0" err="1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Временыя</a:t>
            </a:r>
            <a:r>
              <a:rPr lang="ru-RU" altLang="ru-RU" sz="1800" i="0" cap="all" dirty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 Правила</a:t>
            </a:r>
          </a:p>
          <a:p>
            <a:pPr algn="ctr">
              <a:defRPr/>
            </a:pPr>
            <a:r>
              <a:rPr lang="ru-RU" altLang="ru-RU" sz="1800" i="0" dirty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Относительно </a:t>
            </a:r>
            <a:r>
              <a:rPr lang="ru-RU" altLang="ru-RU" sz="1800" i="0" dirty="0" err="1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мҌръ</a:t>
            </a:r>
            <a:r>
              <a:rPr lang="ru-RU" altLang="ru-RU" sz="1800" i="0" dirty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 предосторожности при </a:t>
            </a:r>
            <a:r>
              <a:rPr lang="ru-RU" altLang="ru-RU" sz="1800" i="0" dirty="0" err="1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устройствѢ</a:t>
            </a:r>
            <a:r>
              <a:rPr lang="ru-RU" altLang="ru-RU" sz="1800" i="0" dirty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 и пользовании </a:t>
            </a:r>
            <a:r>
              <a:rPr lang="ru-RU" altLang="ru-RU" sz="1800" i="0" dirty="0" err="1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электрическимъ</a:t>
            </a:r>
            <a:r>
              <a:rPr lang="ru-RU" altLang="ru-RU" sz="1800" i="0" dirty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 </a:t>
            </a:r>
            <a:r>
              <a:rPr lang="ru-RU" altLang="ru-RU" sz="1800" i="0" dirty="0" err="1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освҌщениемъ</a:t>
            </a:r>
            <a:r>
              <a:rPr lang="ru-RU" altLang="ru-RU" sz="1800" dirty="0">
                <a:solidFill>
                  <a:srgbClr val="FF000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»</a:t>
            </a:r>
          </a:p>
        </p:txBody>
      </p:sp>
      <p:pic>
        <p:nvPicPr>
          <p:cNvPr id="13318" name="Picture 1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3400" y="381000"/>
            <a:ext cx="1119188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9" name="Рисунок 1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7225" y="1804988"/>
            <a:ext cx="7969250" cy="1263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20" name="Рисунок 2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0563" y="3211513"/>
            <a:ext cx="7935912" cy="148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21" name="Рисунок 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7225" y="4926013"/>
            <a:ext cx="7947025" cy="1239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ChangeArrowheads="1"/>
          </p:cNvSpPr>
          <p:nvPr/>
        </p:nvSpPr>
        <p:spPr bwMode="auto">
          <a:xfrm>
            <a:off x="230188" y="152400"/>
            <a:ext cx="8763000" cy="6477000"/>
          </a:xfrm>
          <a:prstGeom prst="rect">
            <a:avLst/>
          </a:prstGeom>
          <a:noFill/>
          <a:ln w="76200" cmpd="tri">
            <a:solidFill>
              <a:srgbClr val="D1D2BE"/>
            </a:solidFill>
            <a:miter lim="800000"/>
            <a:headEnd/>
            <a:tailEnd/>
          </a:ln>
          <a:effectLst>
            <a:prstShdw prst="shdw17" dist="17961" dir="2700000">
              <a:srgbClr val="7186D3"/>
            </a:prstShdw>
          </a:effectLst>
        </p:spPr>
        <p:txBody>
          <a:bodyPr wrap="none" anchor="ctr"/>
          <a:lstStyle/>
          <a:p>
            <a:endParaRPr lang="ru-RU" altLang="ru-RU"/>
          </a:p>
        </p:txBody>
      </p:sp>
      <p:sp useBgFill="1">
        <p:nvSpPr>
          <p:cNvPr id="22531" name="Rectangle 3"/>
          <p:cNvSpPr>
            <a:spLocks noChangeArrowheads="1"/>
          </p:cNvSpPr>
          <p:nvPr/>
        </p:nvSpPr>
        <p:spPr bwMode="auto">
          <a:xfrm>
            <a:off x="457200" y="304800"/>
            <a:ext cx="8305800" cy="6021388"/>
          </a:xfrm>
          <a:prstGeom prst="rect">
            <a:avLst/>
          </a:prstGeom>
          <a:ln w="76200" cmpd="tri">
            <a:solidFill>
              <a:srgbClr val="FFFFCC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/>
          <a:p>
            <a:pPr algn="just">
              <a:spcBef>
                <a:spcPct val="20000"/>
              </a:spcBef>
              <a:buFontTx/>
              <a:buChar char="•"/>
              <a:defRPr/>
            </a:pPr>
            <a:endParaRPr lang="ru-RU" altLang="ru-RU" sz="2000"/>
          </a:p>
        </p:txBody>
      </p:sp>
      <p:sp>
        <p:nvSpPr>
          <p:cNvPr id="14340" name="Rectangle 12"/>
          <p:cNvSpPr>
            <a:spLocks noChangeArrowheads="1"/>
          </p:cNvSpPr>
          <p:nvPr/>
        </p:nvSpPr>
        <p:spPr bwMode="auto">
          <a:xfrm>
            <a:off x="323850" y="188913"/>
            <a:ext cx="85693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bg2"/>
            </a:prstShdw>
          </a:effectLst>
        </p:spPr>
        <p:txBody>
          <a:bodyPr wrap="none" anchor="ctr"/>
          <a:lstStyle/>
          <a:p>
            <a:endParaRPr lang="ru-RU" altLang="ru-RU"/>
          </a:p>
        </p:txBody>
      </p:sp>
      <p:sp>
        <p:nvSpPr>
          <p:cNvPr id="280580" name="Rectangle 4"/>
          <p:cNvSpPr>
            <a:spLocks noChangeArrowheads="1"/>
          </p:cNvSpPr>
          <p:nvPr/>
        </p:nvSpPr>
        <p:spPr bwMode="auto">
          <a:xfrm>
            <a:off x="1820863" y="549275"/>
            <a:ext cx="6772275" cy="1103313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/>
            <a:ext uri="{91240B29-F687-4F45-9708-019B960494DF}"/>
          </a:extLst>
        </p:spPr>
        <p:txBody>
          <a:bodyPr lIns="91433" tIns="45716" rIns="91433" bIns="45716"/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defRPr/>
            </a:pPr>
            <a:r>
              <a:rPr lang="ru-RU" altLang="ru-RU" sz="1800" dirty="0">
                <a:latin typeface="Times New Roman"/>
              </a:rPr>
              <a:t>«</a:t>
            </a:r>
            <a:r>
              <a:rPr lang="ru-RU" altLang="ru-RU" sz="1800" i="0" cap="all" dirty="0" err="1">
                <a:latin typeface="Arial Cyr" panose="020B0604020202020204" pitchFamily="34" charset="0"/>
                <a:cs typeface="Arial Cyr" panose="020B0604020202020204" pitchFamily="34" charset="0"/>
              </a:rPr>
              <a:t>Временыя</a:t>
            </a:r>
            <a:r>
              <a:rPr lang="ru-RU" altLang="ru-RU" sz="1800" i="0" cap="all" dirty="0">
                <a:latin typeface="Arial Cyr" panose="020B0604020202020204" pitchFamily="34" charset="0"/>
                <a:cs typeface="Arial Cyr" panose="020B0604020202020204" pitchFamily="34" charset="0"/>
              </a:rPr>
              <a:t> Правила</a:t>
            </a:r>
          </a:p>
          <a:p>
            <a:pPr algn="ctr">
              <a:defRPr/>
            </a:pPr>
            <a:r>
              <a:rPr lang="ru-RU" altLang="ru-RU" sz="1800" i="0" dirty="0">
                <a:latin typeface="Arial Cyr" panose="020B0604020202020204" pitchFamily="34" charset="0"/>
                <a:cs typeface="Arial Cyr" panose="020B0604020202020204" pitchFamily="34" charset="0"/>
              </a:rPr>
              <a:t>Относительно </a:t>
            </a:r>
            <a:r>
              <a:rPr lang="ru-RU" altLang="ru-RU" sz="1800" i="0" dirty="0" err="1">
                <a:latin typeface="Arial Cyr" panose="020B0604020202020204" pitchFamily="34" charset="0"/>
                <a:cs typeface="Arial Cyr" panose="020B0604020202020204" pitchFamily="34" charset="0"/>
              </a:rPr>
              <a:t>мҌръ</a:t>
            </a:r>
            <a:r>
              <a:rPr lang="ru-RU" altLang="ru-RU" sz="1800" i="0" dirty="0">
                <a:latin typeface="Arial Cyr" panose="020B0604020202020204" pitchFamily="34" charset="0"/>
                <a:cs typeface="Arial Cyr" panose="020B0604020202020204" pitchFamily="34" charset="0"/>
              </a:rPr>
              <a:t> предосторожности при </a:t>
            </a:r>
            <a:r>
              <a:rPr lang="ru-RU" altLang="ru-RU" sz="1800" i="0" dirty="0" err="1">
                <a:latin typeface="Arial Cyr" panose="020B0604020202020204" pitchFamily="34" charset="0"/>
                <a:cs typeface="Arial Cyr" panose="020B0604020202020204" pitchFamily="34" charset="0"/>
              </a:rPr>
              <a:t>устройствѢ</a:t>
            </a:r>
            <a:r>
              <a:rPr lang="ru-RU" altLang="ru-RU" sz="1800" i="0" dirty="0">
                <a:latin typeface="Arial Cyr" panose="020B0604020202020204" pitchFamily="34" charset="0"/>
                <a:cs typeface="Arial Cyr" panose="020B0604020202020204" pitchFamily="34" charset="0"/>
              </a:rPr>
              <a:t> и пользовании </a:t>
            </a:r>
            <a:r>
              <a:rPr lang="ru-RU" altLang="ru-RU" sz="1800" i="0" dirty="0" err="1">
                <a:latin typeface="Arial Cyr" panose="020B0604020202020204" pitchFamily="34" charset="0"/>
                <a:cs typeface="Arial Cyr" panose="020B0604020202020204" pitchFamily="34" charset="0"/>
              </a:rPr>
              <a:t>электрическимъ</a:t>
            </a:r>
            <a:r>
              <a:rPr lang="ru-RU" altLang="ru-RU" sz="1800" i="0" dirty="0">
                <a:latin typeface="Arial Cyr" panose="020B0604020202020204" pitchFamily="34" charset="0"/>
                <a:cs typeface="Arial Cyr" panose="020B0604020202020204" pitchFamily="34" charset="0"/>
              </a:rPr>
              <a:t> </a:t>
            </a:r>
            <a:r>
              <a:rPr lang="ru-RU" altLang="ru-RU" sz="1800" i="0" dirty="0" err="1">
                <a:latin typeface="Arial Cyr" panose="020B0604020202020204" pitchFamily="34" charset="0"/>
                <a:cs typeface="Arial Cyr" panose="020B0604020202020204" pitchFamily="34" charset="0"/>
              </a:rPr>
              <a:t>освҌщениемъ</a:t>
            </a:r>
            <a:r>
              <a:rPr lang="ru-RU" altLang="ru-RU" sz="1800" dirty="0">
                <a:latin typeface="Arial Cyr" panose="020B0604020202020204" pitchFamily="34" charset="0"/>
                <a:cs typeface="Arial Cyr" panose="020B0604020202020204" pitchFamily="34" charset="0"/>
              </a:rPr>
              <a:t>»</a:t>
            </a:r>
          </a:p>
        </p:txBody>
      </p:sp>
      <p:pic>
        <p:nvPicPr>
          <p:cNvPr id="14342" name="Picture 1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3400" y="381000"/>
            <a:ext cx="1119188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3" name="Рисунок 1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4213" y="1897063"/>
            <a:ext cx="7908925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4" name="Рисунок 2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4213" y="2597150"/>
            <a:ext cx="7908925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5" name="Рисунок 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84213" y="3621088"/>
            <a:ext cx="7908925" cy="2544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blinds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ED.5tSSCCxzuyeNsc_m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65</TotalTime>
  <Words>897</Words>
  <Application>Microsoft Office PowerPoint</Application>
  <PresentationFormat>Экран (4:3)</PresentationFormat>
  <Paragraphs>309</Paragraphs>
  <Slides>14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Тема Office</vt:lpstr>
      <vt:lpstr>Слайд think-cell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Мероприятия программы по повышению энергонадежности </vt:lpstr>
      <vt:lpstr>Программа модернизации трансформаторов ГПП напряжением 35 кВ и выше ЧК АО "Апатит"</vt:lpstr>
      <vt:lpstr>Слайд 14</vt:lpstr>
    </vt:vector>
  </TitlesOfParts>
  <Company>q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q</dc:creator>
  <cp:lastModifiedBy>Черенкова</cp:lastModifiedBy>
  <cp:revision>389</cp:revision>
  <cp:lastPrinted>2015-01-26T08:51:59Z</cp:lastPrinted>
  <dcterms:created xsi:type="dcterms:W3CDTF">2003-04-07T10:35:08Z</dcterms:created>
  <dcterms:modified xsi:type="dcterms:W3CDTF">2026-05-14T07:38:59Z</dcterms:modified>
</cp:coreProperties>
</file>